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673" r:id="rId2"/>
    <p:sldMasterId id="2147483687" r:id="rId3"/>
  </p:sldMasterIdLst>
  <p:notesMasterIdLst>
    <p:notesMasterId r:id="rId48"/>
  </p:notesMasterIdLst>
  <p:sldIdLst>
    <p:sldId id="1722" r:id="rId4"/>
    <p:sldId id="4642" r:id="rId5"/>
    <p:sldId id="1731" r:id="rId6"/>
    <p:sldId id="1635" r:id="rId7"/>
    <p:sldId id="2260" r:id="rId8"/>
    <p:sldId id="4823" r:id="rId9"/>
    <p:sldId id="2244" r:id="rId10"/>
    <p:sldId id="4630" r:id="rId11"/>
    <p:sldId id="4631" r:id="rId12"/>
    <p:sldId id="1726" r:id="rId13"/>
    <p:sldId id="4627" r:id="rId14"/>
    <p:sldId id="1728" r:id="rId15"/>
    <p:sldId id="4824" r:id="rId16"/>
    <p:sldId id="4825" r:id="rId17"/>
    <p:sldId id="2265" r:id="rId18"/>
    <p:sldId id="2263" r:id="rId19"/>
    <p:sldId id="4671" r:id="rId20"/>
    <p:sldId id="2272" r:id="rId21"/>
    <p:sldId id="2274" r:id="rId22"/>
    <p:sldId id="2276" r:id="rId23"/>
    <p:sldId id="4643" r:id="rId24"/>
    <p:sldId id="4826" r:id="rId25"/>
    <p:sldId id="4827" r:id="rId26"/>
    <p:sldId id="4681" r:id="rId27"/>
    <p:sldId id="4682" r:id="rId28"/>
    <p:sldId id="4683" r:id="rId29"/>
    <p:sldId id="4684" r:id="rId30"/>
    <p:sldId id="4685" r:id="rId31"/>
    <p:sldId id="4686" r:id="rId32"/>
    <p:sldId id="4687" r:id="rId33"/>
    <p:sldId id="1171" r:id="rId34"/>
    <p:sldId id="1483" r:id="rId35"/>
    <p:sldId id="2388" r:id="rId36"/>
    <p:sldId id="4813" r:id="rId37"/>
    <p:sldId id="4814" r:id="rId38"/>
    <p:sldId id="4815" r:id="rId39"/>
    <p:sldId id="4816" r:id="rId40"/>
    <p:sldId id="4817" r:id="rId41"/>
    <p:sldId id="4818" r:id="rId42"/>
    <p:sldId id="4819" r:id="rId43"/>
    <p:sldId id="4820" r:id="rId44"/>
    <p:sldId id="4589" r:id="rId45"/>
    <p:sldId id="1480" r:id="rId46"/>
    <p:sldId id="4821" r:id="rId47"/>
  </p:sldIdLst>
  <p:sldSz cx="12192000" cy="6858000"/>
  <p:notesSz cx="6858000" cy="9144000"/>
  <p:embeddedFontLst>
    <p:embeddedFont>
      <p:font typeface="Calibri" panose="020F0502020204030204" pitchFamily="34" charset="0"/>
      <p:regular r:id="rId49"/>
      <p:bold r:id="rId50"/>
      <p:italic r:id="rId51"/>
      <p:boldItalic r:id="rId52"/>
    </p:embeddedFont>
    <p:embeddedFont>
      <p:font typeface="Calibri Light" panose="020F0302020204030204" pitchFamily="34" charset="0"/>
      <p:regular r:id="rId53"/>
      <p:italic r:id="rId54"/>
    </p:embeddedFont>
  </p:embeddedFontLst>
  <p:custDataLst>
    <p:tags r:id="rId5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00FF"/>
    <a:srgbClr val="00FF00"/>
    <a:srgbClr val="0000FF"/>
    <a:srgbClr val="000000"/>
    <a:srgbClr val="F3D9DC"/>
    <a:srgbClr val="EFCCCF"/>
    <a:srgbClr val="FFFFFF"/>
    <a:srgbClr val="F7E7E9"/>
    <a:srgbClr val="B0C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696" autoAdjust="0"/>
    <p:restoredTop sz="96327" autoAdjust="0"/>
  </p:normalViewPr>
  <p:slideViewPr>
    <p:cSldViewPr snapToGrid="0">
      <p:cViewPr>
        <p:scale>
          <a:sx n="100" d="100"/>
          <a:sy n="100" d="100"/>
        </p:scale>
        <p:origin x="1044" y="342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206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font" Target="fonts/font2.fntdata"/><Relationship Id="rId55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font" Target="fonts/font5.fntdata"/><Relationship Id="rId58" Type="http://schemas.openxmlformats.org/officeDocument/2006/relationships/theme" Target="theme/theme1.xml"/><Relationship Id="rId5" Type="http://schemas.openxmlformats.org/officeDocument/2006/relationships/slide" Target="slides/slide2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notesMaster" Target="notesMasters/notesMaster1.xml"/><Relationship Id="rId56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font" Target="fonts/font3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font" Target="fonts/font1.fntdata"/><Relationship Id="rId57" Type="http://schemas.openxmlformats.org/officeDocument/2006/relationships/viewProps" Target="viewProps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font" Target="fonts/font4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E$1:$PI$1</c:f>
              <c:strCache>
                <c:ptCount val="421"/>
                <c:pt idx="0">
                  <c:v>23-XII.20</c:v>
                </c:pt>
                <c:pt idx="1">
                  <c:v>24-XII.20</c:v>
                </c:pt>
                <c:pt idx="2">
                  <c:v>25-XII.20</c:v>
                </c:pt>
                <c:pt idx="3">
                  <c:v>26-XII.20</c:v>
                </c:pt>
                <c:pt idx="4">
                  <c:v>27.XII.20</c:v>
                </c:pt>
                <c:pt idx="5">
                  <c:v>28.XII.20</c:v>
                </c:pt>
                <c:pt idx="6">
                  <c:v>29.XII.20</c:v>
                </c:pt>
                <c:pt idx="7">
                  <c:v>30.XII.20</c:v>
                </c:pt>
                <c:pt idx="8">
                  <c:v>31.XII.20</c:v>
                </c:pt>
                <c:pt idx="9">
                  <c:v>1.I.21</c:v>
                </c:pt>
                <c:pt idx="10">
                  <c:v>2.I.21</c:v>
                </c:pt>
                <c:pt idx="11">
                  <c:v>3.I.21</c:v>
                </c:pt>
                <c:pt idx="12">
                  <c:v>4.I.21</c:v>
                </c:pt>
                <c:pt idx="13">
                  <c:v>5.I.21</c:v>
                </c:pt>
                <c:pt idx="14">
                  <c:v>6.I.21</c:v>
                </c:pt>
                <c:pt idx="15">
                  <c:v>7.I.21</c:v>
                </c:pt>
                <c:pt idx="16">
                  <c:v>8.I.21</c:v>
                </c:pt>
                <c:pt idx="17">
                  <c:v>9.I.21</c:v>
                </c:pt>
                <c:pt idx="18">
                  <c:v>10.I.21</c:v>
                </c:pt>
                <c:pt idx="19">
                  <c:v>11.I.21</c:v>
                </c:pt>
                <c:pt idx="20">
                  <c:v>12.I.21</c:v>
                </c:pt>
                <c:pt idx="21">
                  <c:v>13.I.21</c:v>
                </c:pt>
                <c:pt idx="22">
                  <c:v>14.I.21</c:v>
                </c:pt>
                <c:pt idx="23">
                  <c:v>15.I.21</c:v>
                </c:pt>
                <c:pt idx="24">
                  <c:v>16.I.21</c:v>
                </c:pt>
                <c:pt idx="25">
                  <c:v>17.I.21</c:v>
                </c:pt>
                <c:pt idx="26">
                  <c:v>18.I.21</c:v>
                </c:pt>
                <c:pt idx="27">
                  <c:v>19.I.21</c:v>
                </c:pt>
                <c:pt idx="28">
                  <c:v>20.I.21</c:v>
                </c:pt>
                <c:pt idx="29">
                  <c:v>21.I.21</c:v>
                </c:pt>
                <c:pt idx="30">
                  <c:v>22.I.21</c:v>
                </c:pt>
                <c:pt idx="31">
                  <c:v>23.I.21</c:v>
                </c:pt>
                <c:pt idx="32">
                  <c:v>24.I.21</c:v>
                </c:pt>
                <c:pt idx="33">
                  <c:v>25.I.21</c:v>
                </c:pt>
                <c:pt idx="34">
                  <c:v>26.I.21</c:v>
                </c:pt>
                <c:pt idx="35">
                  <c:v>27.I.21</c:v>
                </c:pt>
                <c:pt idx="36">
                  <c:v>28.I.21</c:v>
                </c:pt>
                <c:pt idx="37">
                  <c:v>29.I.21</c:v>
                </c:pt>
                <c:pt idx="38">
                  <c:v>30.I.21</c:v>
                </c:pt>
                <c:pt idx="39">
                  <c:v>31.I.21</c:v>
                </c:pt>
                <c:pt idx="40">
                  <c:v>1.II.21</c:v>
                </c:pt>
                <c:pt idx="41">
                  <c:v>2.II.21</c:v>
                </c:pt>
                <c:pt idx="42">
                  <c:v>3.II.21</c:v>
                </c:pt>
                <c:pt idx="43">
                  <c:v>4.II.21</c:v>
                </c:pt>
                <c:pt idx="44">
                  <c:v>5.II.21</c:v>
                </c:pt>
                <c:pt idx="45">
                  <c:v>6.II.21</c:v>
                </c:pt>
                <c:pt idx="46">
                  <c:v>7.II.21</c:v>
                </c:pt>
                <c:pt idx="47">
                  <c:v>8.II.21</c:v>
                </c:pt>
                <c:pt idx="48">
                  <c:v>9.II.21</c:v>
                </c:pt>
                <c:pt idx="49">
                  <c:v>10.II.21</c:v>
                </c:pt>
                <c:pt idx="50">
                  <c:v>11.II.21</c:v>
                </c:pt>
                <c:pt idx="51">
                  <c:v>12.II.21</c:v>
                </c:pt>
                <c:pt idx="52">
                  <c:v>13.II.21</c:v>
                </c:pt>
                <c:pt idx="53">
                  <c:v>14.II.21</c:v>
                </c:pt>
                <c:pt idx="54">
                  <c:v>15.II.21</c:v>
                </c:pt>
                <c:pt idx="55">
                  <c:v>16.II.21</c:v>
                </c:pt>
                <c:pt idx="56">
                  <c:v>17.II.21</c:v>
                </c:pt>
                <c:pt idx="57">
                  <c:v>18.II.21</c:v>
                </c:pt>
                <c:pt idx="58">
                  <c:v>19.II.21</c:v>
                </c:pt>
                <c:pt idx="59">
                  <c:v>20.II.21</c:v>
                </c:pt>
                <c:pt idx="60">
                  <c:v>21.II.21</c:v>
                </c:pt>
                <c:pt idx="61">
                  <c:v>22.II.21</c:v>
                </c:pt>
                <c:pt idx="62">
                  <c:v>23.II.21</c:v>
                </c:pt>
                <c:pt idx="63">
                  <c:v>24.II.21</c:v>
                </c:pt>
                <c:pt idx="64">
                  <c:v>25.II.21</c:v>
                </c:pt>
                <c:pt idx="65">
                  <c:v>26.II.21</c:v>
                </c:pt>
                <c:pt idx="66">
                  <c:v>27.II.21</c:v>
                </c:pt>
                <c:pt idx="67">
                  <c:v>28.II.21</c:v>
                </c:pt>
                <c:pt idx="68">
                  <c:v>1.III.21</c:v>
                </c:pt>
                <c:pt idx="69">
                  <c:v>2.III.21</c:v>
                </c:pt>
                <c:pt idx="70">
                  <c:v>3.III.21</c:v>
                </c:pt>
                <c:pt idx="71">
                  <c:v>4.III.21</c:v>
                </c:pt>
                <c:pt idx="72">
                  <c:v>5.III.21</c:v>
                </c:pt>
                <c:pt idx="73">
                  <c:v>6.III.21</c:v>
                </c:pt>
                <c:pt idx="74">
                  <c:v>7.III.21</c:v>
                </c:pt>
                <c:pt idx="75">
                  <c:v>8.III.21</c:v>
                </c:pt>
                <c:pt idx="76">
                  <c:v>9.III.21</c:v>
                </c:pt>
                <c:pt idx="77">
                  <c:v>10.III.21</c:v>
                </c:pt>
                <c:pt idx="78">
                  <c:v>11.III.21</c:v>
                </c:pt>
                <c:pt idx="79">
                  <c:v>12.III.21</c:v>
                </c:pt>
                <c:pt idx="80">
                  <c:v>13.III.21</c:v>
                </c:pt>
                <c:pt idx="81">
                  <c:v>14.III.21</c:v>
                </c:pt>
                <c:pt idx="82">
                  <c:v>15.III.21</c:v>
                </c:pt>
                <c:pt idx="83">
                  <c:v>16.III.21</c:v>
                </c:pt>
                <c:pt idx="84">
                  <c:v>17.III.21</c:v>
                </c:pt>
                <c:pt idx="85">
                  <c:v>18.III.21</c:v>
                </c:pt>
                <c:pt idx="86">
                  <c:v>19.III.21</c:v>
                </c:pt>
                <c:pt idx="87">
                  <c:v>20.III.21</c:v>
                </c:pt>
                <c:pt idx="88">
                  <c:v>21.III.21</c:v>
                </c:pt>
                <c:pt idx="89">
                  <c:v>22.III.21</c:v>
                </c:pt>
                <c:pt idx="90">
                  <c:v>23.III.21</c:v>
                </c:pt>
                <c:pt idx="91">
                  <c:v>24.III.21</c:v>
                </c:pt>
                <c:pt idx="92">
                  <c:v>25.III.21</c:v>
                </c:pt>
                <c:pt idx="93">
                  <c:v>26.III.21</c:v>
                </c:pt>
                <c:pt idx="94">
                  <c:v>27.III.21</c:v>
                </c:pt>
                <c:pt idx="95">
                  <c:v>28.III.21</c:v>
                </c:pt>
                <c:pt idx="96">
                  <c:v>29.III.21</c:v>
                </c:pt>
                <c:pt idx="97">
                  <c:v>30.III.21</c:v>
                </c:pt>
                <c:pt idx="98">
                  <c:v>31.III.21</c:v>
                </c:pt>
                <c:pt idx="99">
                  <c:v>1.IV.21</c:v>
                </c:pt>
                <c:pt idx="100">
                  <c:v>2.IV.21</c:v>
                </c:pt>
                <c:pt idx="101">
                  <c:v>3.IV.21</c:v>
                </c:pt>
                <c:pt idx="102">
                  <c:v>4.IV.21</c:v>
                </c:pt>
                <c:pt idx="103">
                  <c:v>5.IV.21</c:v>
                </c:pt>
                <c:pt idx="104">
                  <c:v>6.IV.21</c:v>
                </c:pt>
                <c:pt idx="105">
                  <c:v>7.IV.21</c:v>
                </c:pt>
                <c:pt idx="106">
                  <c:v>8.IV.21</c:v>
                </c:pt>
                <c:pt idx="107">
                  <c:v>9.IV.21</c:v>
                </c:pt>
                <c:pt idx="108">
                  <c:v>10.IV.21</c:v>
                </c:pt>
                <c:pt idx="109">
                  <c:v>11.IV.21</c:v>
                </c:pt>
                <c:pt idx="110">
                  <c:v>12.IV.21</c:v>
                </c:pt>
                <c:pt idx="111">
                  <c:v>13.IV.21</c:v>
                </c:pt>
                <c:pt idx="112">
                  <c:v>14.IV.21</c:v>
                </c:pt>
                <c:pt idx="113">
                  <c:v>15.IV.21</c:v>
                </c:pt>
                <c:pt idx="114">
                  <c:v>16.IV.21</c:v>
                </c:pt>
                <c:pt idx="115">
                  <c:v>17.IV.21</c:v>
                </c:pt>
                <c:pt idx="116">
                  <c:v>18.IV.21</c:v>
                </c:pt>
                <c:pt idx="117">
                  <c:v>19.IV.21</c:v>
                </c:pt>
                <c:pt idx="118">
                  <c:v>20.IV.21</c:v>
                </c:pt>
                <c:pt idx="119">
                  <c:v>21.IV.21</c:v>
                </c:pt>
                <c:pt idx="120">
                  <c:v>22.IV.21</c:v>
                </c:pt>
                <c:pt idx="121">
                  <c:v>23.IV.21</c:v>
                </c:pt>
                <c:pt idx="122">
                  <c:v>24.IV.21</c:v>
                </c:pt>
                <c:pt idx="123">
                  <c:v>25.IV.21</c:v>
                </c:pt>
                <c:pt idx="124">
                  <c:v>26.IV.21</c:v>
                </c:pt>
                <c:pt idx="125">
                  <c:v>27.IV.21</c:v>
                </c:pt>
                <c:pt idx="126">
                  <c:v>28.IV.21</c:v>
                </c:pt>
                <c:pt idx="127">
                  <c:v>29.IV.21</c:v>
                </c:pt>
                <c:pt idx="128">
                  <c:v>30.IV.21</c:v>
                </c:pt>
                <c:pt idx="129">
                  <c:v>1.V.21</c:v>
                </c:pt>
                <c:pt idx="130">
                  <c:v>2.V.21</c:v>
                </c:pt>
                <c:pt idx="131">
                  <c:v>3.V.21</c:v>
                </c:pt>
                <c:pt idx="132">
                  <c:v>4.V.21</c:v>
                </c:pt>
                <c:pt idx="133">
                  <c:v>5.V.21</c:v>
                </c:pt>
                <c:pt idx="134">
                  <c:v>6.V.21</c:v>
                </c:pt>
                <c:pt idx="135">
                  <c:v>7.V.21</c:v>
                </c:pt>
                <c:pt idx="136">
                  <c:v>8.V.21</c:v>
                </c:pt>
                <c:pt idx="137">
                  <c:v>9.V.21</c:v>
                </c:pt>
                <c:pt idx="138">
                  <c:v>10.V.21</c:v>
                </c:pt>
                <c:pt idx="139">
                  <c:v>11.V.21</c:v>
                </c:pt>
                <c:pt idx="140">
                  <c:v>12.V.21</c:v>
                </c:pt>
                <c:pt idx="141">
                  <c:v>13.V.21</c:v>
                </c:pt>
                <c:pt idx="142">
                  <c:v>14.V.21</c:v>
                </c:pt>
                <c:pt idx="143">
                  <c:v>15.V.21</c:v>
                </c:pt>
                <c:pt idx="144">
                  <c:v>16.V.21</c:v>
                </c:pt>
                <c:pt idx="145">
                  <c:v>17.V.21</c:v>
                </c:pt>
                <c:pt idx="146">
                  <c:v>18.V.21</c:v>
                </c:pt>
                <c:pt idx="147">
                  <c:v>19.V.21</c:v>
                </c:pt>
                <c:pt idx="148">
                  <c:v>20.V.21</c:v>
                </c:pt>
                <c:pt idx="149">
                  <c:v>21.V.21</c:v>
                </c:pt>
                <c:pt idx="150">
                  <c:v>22.V.21</c:v>
                </c:pt>
                <c:pt idx="151">
                  <c:v>23.V.21</c:v>
                </c:pt>
                <c:pt idx="152">
                  <c:v>24.V.21</c:v>
                </c:pt>
                <c:pt idx="153">
                  <c:v>25.V.21</c:v>
                </c:pt>
                <c:pt idx="154">
                  <c:v>26.V.21</c:v>
                </c:pt>
                <c:pt idx="155">
                  <c:v>27.V.21</c:v>
                </c:pt>
                <c:pt idx="156">
                  <c:v>28.V.21</c:v>
                </c:pt>
                <c:pt idx="157">
                  <c:v>29.V.21</c:v>
                </c:pt>
                <c:pt idx="158">
                  <c:v>30.V.21</c:v>
                </c:pt>
                <c:pt idx="159">
                  <c:v>31.V.21</c:v>
                </c:pt>
                <c:pt idx="160">
                  <c:v>1.VI.21</c:v>
                </c:pt>
                <c:pt idx="161">
                  <c:v>2.VI.21</c:v>
                </c:pt>
                <c:pt idx="162">
                  <c:v>3.VI.21</c:v>
                </c:pt>
                <c:pt idx="163">
                  <c:v>4.VI.21</c:v>
                </c:pt>
                <c:pt idx="164">
                  <c:v>5.VI.21</c:v>
                </c:pt>
                <c:pt idx="165">
                  <c:v>6.VI.21</c:v>
                </c:pt>
                <c:pt idx="166">
                  <c:v>7.VI.21</c:v>
                </c:pt>
                <c:pt idx="167">
                  <c:v>8.VI.21</c:v>
                </c:pt>
                <c:pt idx="168">
                  <c:v>9.VI.21</c:v>
                </c:pt>
                <c:pt idx="169">
                  <c:v>10.VI.21</c:v>
                </c:pt>
                <c:pt idx="170">
                  <c:v>11.VI.21</c:v>
                </c:pt>
                <c:pt idx="171">
                  <c:v>12.VI.21</c:v>
                </c:pt>
                <c:pt idx="172">
                  <c:v>13.VI.21</c:v>
                </c:pt>
                <c:pt idx="173">
                  <c:v>14.VI.21</c:v>
                </c:pt>
                <c:pt idx="174">
                  <c:v>15.VI.21</c:v>
                </c:pt>
                <c:pt idx="175">
                  <c:v>16.VI.21</c:v>
                </c:pt>
                <c:pt idx="176">
                  <c:v>17.VI.21</c:v>
                </c:pt>
                <c:pt idx="177">
                  <c:v>18.VI.21</c:v>
                </c:pt>
                <c:pt idx="178">
                  <c:v>19.VI.21</c:v>
                </c:pt>
                <c:pt idx="179">
                  <c:v>20.VI.21</c:v>
                </c:pt>
                <c:pt idx="180">
                  <c:v>21.VI.21</c:v>
                </c:pt>
                <c:pt idx="181">
                  <c:v>22.VI.21</c:v>
                </c:pt>
                <c:pt idx="182">
                  <c:v>23.VI.21</c:v>
                </c:pt>
                <c:pt idx="183">
                  <c:v>24.VI.21</c:v>
                </c:pt>
                <c:pt idx="184">
                  <c:v>25.VI.21</c:v>
                </c:pt>
                <c:pt idx="185">
                  <c:v>26.VI.21</c:v>
                </c:pt>
                <c:pt idx="186">
                  <c:v>27.VI.21</c:v>
                </c:pt>
                <c:pt idx="187">
                  <c:v>28.VI.21</c:v>
                </c:pt>
                <c:pt idx="188">
                  <c:v>29.VI.21</c:v>
                </c:pt>
                <c:pt idx="189">
                  <c:v>30.VI.21</c:v>
                </c:pt>
                <c:pt idx="190">
                  <c:v>1.VII.21</c:v>
                </c:pt>
                <c:pt idx="191">
                  <c:v>2.VII.21</c:v>
                </c:pt>
                <c:pt idx="192">
                  <c:v>3.VII.21</c:v>
                </c:pt>
                <c:pt idx="193">
                  <c:v>4.VII.21</c:v>
                </c:pt>
                <c:pt idx="194">
                  <c:v>5.VII.21</c:v>
                </c:pt>
                <c:pt idx="195">
                  <c:v>6.VII.21</c:v>
                </c:pt>
                <c:pt idx="196">
                  <c:v>7.VII.21</c:v>
                </c:pt>
                <c:pt idx="197">
                  <c:v>8.VII.21</c:v>
                </c:pt>
                <c:pt idx="198">
                  <c:v>9.VII.21</c:v>
                </c:pt>
                <c:pt idx="199">
                  <c:v>10.VII.21</c:v>
                </c:pt>
                <c:pt idx="200">
                  <c:v>11.VII.21</c:v>
                </c:pt>
                <c:pt idx="201">
                  <c:v>12.VII.21</c:v>
                </c:pt>
                <c:pt idx="202">
                  <c:v>13.VII.21</c:v>
                </c:pt>
                <c:pt idx="203">
                  <c:v>14.VII.21</c:v>
                </c:pt>
                <c:pt idx="204">
                  <c:v>15.VII.21</c:v>
                </c:pt>
                <c:pt idx="205">
                  <c:v>16.VII.21</c:v>
                </c:pt>
                <c:pt idx="206">
                  <c:v>17.VII.21</c:v>
                </c:pt>
                <c:pt idx="207">
                  <c:v>18.VII.21</c:v>
                </c:pt>
                <c:pt idx="208">
                  <c:v>19.VII.21</c:v>
                </c:pt>
                <c:pt idx="209">
                  <c:v>20.VII.21</c:v>
                </c:pt>
                <c:pt idx="210">
                  <c:v>21.VII.21</c:v>
                </c:pt>
                <c:pt idx="211">
                  <c:v>22.VII.21</c:v>
                </c:pt>
                <c:pt idx="212">
                  <c:v>23.VII.21</c:v>
                </c:pt>
                <c:pt idx="213">
                  <c:v>24.VII.21</c:v>
                </c:pt>
                <c:pt idx="214">
                  <c:v>25.VII.21</c:v>
                </c:pt>
                <c:pt idx="215">
                  <c:v>26.VII.21</c:v>
                </c:pt>
                <c:pt idx="216">
                  <c:v>27.VII.21</c:v>
                </c:pt>
                <c:pt idx="217">
                  <c:v>28.VII.21</c:v>
                </c:pt>
                <c:pt idx="218">
                  <c:v>29.VII.21</c:v>
                </c:pt>
                <c:pt idx="219">
                  <c:v>30.VII.21</c:v>
                </c:pt>
                <c:pt idx="220">
                  <c:v>31.VII.21</c:v>
                </c:pt>
                <c:pt idx="221">
                  <c:v>1.VIII.21</c:v>
                </c:pt>
                <c:pt idx="222">
                  <c:v>2.VIII.21</c:v>
                </c:pt>
                <c:pt idx="223">
                  <c:v>3.VIII.21</c:v>
                </c:pt>
                <c:pt idx="224">
                  <c:v>4.VIII.21</c:v>
                </c:pt>
                <c:pt idx="225">
                  <c:v>5.VIII.21</c:v>
                </c:pt>
                <c:pt idx="226">
                  <c:v>6.VIII.21</c:v>
                </c:pt>
                <c:pt idx="227">
                  <c:v>7.VIII.21</c:v>
                </c:pt>
                <c:pt idx="228">
                  <c:v>8.VIII.21</c:v>
                </c:pt>
                <c:pt idx="229">
                  <c:v>9.VIII.21</c:v>
                </c:pt>
                <c:pt idx="230">
                  <c:v>10.VIII.21</c:v>
                </c:pt>
                <c:pt idx="231">
                  <c:v>11.VIII.21</c:v>
                </c:pt>
                <c:pt idx="232">
                  <c:v>12.VIII.21</c:v>
                </c:pt>
                <c:pt idx="233">
                  <c:v>13.VIII.21</c:v>
                </c:pt>
                <c:pt idx="234">
                  <c:v>14.VIII.21</c:v>
                </c:pt>
                <c:pt idx="235">
                  <c:v>15.VIII.21</c:v>
                </c:pt>
                <c:pt idx="236">
                  <c:v>16.VIII.21</c:v>
                </c:pt>
                <c:pt idx="237">
                  <c:v>17.VIII.21</c:v>
                </c:pt>
                <c:pt idx="238">
                  <c:v>18.VIII.21</c:v>
                </c:pt>
                <c:pt idx="239">
                  <c:v>19.VIII.21</c:v>
                </c:pt>
                <c:pt idx="240">
                  <c:v>20.VIII.21</c:v>
                </c:pt>
                <c:pt idx="241">
                  <c:v>21.VIII.21</c:v>
                </c:pt>
                <c:pt idx="242">
                  <c:v>22.VIII.21</c:v>
                </c:pt>
                <c:pt idx="243">
                  <c:v>23.VIII.21</c:v>
                </c:pt>
                <c:pt idx="244">
                  <c:v>24.VIII.21</c:v>
                </c:pt>
                <c:pt idx="245">
                  <c:v>25.VIII.21</c:v>
                </c:pt>
                <c:pt idx="246">
                  <c:v>26.VIII.21</c:v>
                </c:pt>
                <c:pt idx="247">
                  <c:v>27.VIII.21</c:v>
                </c:pt>
                <c:pt idx="248">
                  <c:v>28.VIII.21</c:v>
                </c:pt>
                <c:pt idx="249">
                  <c:v>29.VIII.21</c:v>
                </c:pt>
                <c:pt idx="250">
                  <c:v>30.VIII.21</c:v>
                </c:pt>
                <c:pt idx="251">
                  <c:v>31.VIII.21</c:v>
                </c:pt>
                <c:pt idx="252">
                  <c:v>1.IX.21</c:v>
                </c:pt>
                <c:pt idx="253">
                  <c:v>2.IX.21</c:v>
                </c:pt>
                <c:pt idx="254">
                  <c:v>3.IX.21</c:v>
                </c:pt>
                <c:pt idx="255">
                  <c:v>4.IX.21</c:v>
                </c:pt>
                <c:pt idx="256">
                  <c:v>5.IX.21</c:v>
                </c:pt>
                <c:pt idx="257">
                  <c:v>6.IX.21</c:v>
                </c:pt>
                <c:pt idx="258">
                  <c:v>7.IX.21</c:v>
                </c:pt>
                <c:pt idx="259">
                  <c:v>8.IX.21</c:v>
                </c:pt>
                <c:pt idx="260">
                  <c:v>9.IX.21</c:v>
                </c:pt>
                <c:pt idx="261">
                  <c:v>10.IX.21</c:v>
                </c:pt>
                <c:pt idx="262">
                  <c:v>11.IX.21</c:v>
                </c:pt>
                <c:pt idx="263">
                  <c:v>12.IX.21</c:v>
                </c:pt>
                <c:pt idx="264">
                  <c:v>13.IX.21</c:v>
                </c:pt>
                <c:pt idx="265">
                  <c:v>14.IX.21</c:v>
                </c:pt>
                <c:pt idx="266">
                  <c:v>15.IX.21</c:v>
                </c:pt>
                <c:pt idx="267">
                  <c:v>16.IX.21</c:v>
                </c:pt>
                <c:pt idx="268">
                  <c:v>17.IX.21</c:v>
                </c:pt>
                <c:pt idx="269">
                  <c:v>18.IX.21</c:v>
                </c:pt>
                <c:pt idx="270">
                  <c:v>19.IX.21</c:v>
                </c:pt>
                <c:pt idx="271">
                  <c:v>20.IX.21</c:v>
                </c:pt>
                <c:pt idx="272">
                  <c:v>21.IX.21</c:v>
                </c:pt>
                <c:pt idx="273">
                  <c:v>22.IX.21</c:v>
                </c:pt>
                <c:pt idx="274">
                  <c:v>23.IX.21</c:v>
                </c:pt>
                <c:pt idx="275">
                  <c:v>24.IX.21</c:v>
                </c:pt>
                <c:pt idx="276">
                  <c:v>25.IX.21</c:v>
                </c:pt>
                <c:pt idx="277">
                  <c:v>26.IX.21</c:v>
                </c:pt>
                <c:pt idx="278">
                  <c:v>27.IX.21</c:v>
                </c:pt>
                <c:pt idx="279">
                  <c:v>28.IX.21</c:v>
                </c:pt>
                <c:pt idx="280">
                  <c:v>29.IX.21</c:v>
                </c:pt>
                <c:pt idx="281">
                  <c:v>30.IX.21</c:v>
                </c:pt>
                <c:pt idx="282">
                  <c:v>1.X.21</c:v>
                </c:pt>
                <c:pt idx="283">
                  <c:v>2.X.21</c:v>
                </c:pt>
                <c:pt idx="284">
                  <c:v>3.X.21</c:v>
                </c:pt>
                <c:pt idx="285">
                  <c:v>4.X.21</c:v>
                </c:pt>
                <c:pt idx="286">
                  <c:v>5.X.21</c:v>
                </c:pt>
                <c:pt idx="287">
                  <c:v>6.X.21</c:v>
                </c:pt>
                <c:pt idx="288">
                  <c:v>7.X.21</c:v>
                </c:pt>
                <c:pt idx="289">
                  <c:v>8.X.21</c:v>
                </c:pt>
                <c:pt idx="290">
                  <c:v>9.X.21</c:v>
                </c:pt>
                <c:pt idx="291">
                  <c:v>10.X.21</c:v>
                </c:pt>
                <c:pt idx="292">
                  <c:v>11.X.21</c:v>
                </c:pt>
                <c:pt idx="293">
                  <c:v>12.X.21</c:v>
                </c:pt>
                <c:pt idx="294">
                  <c:v>13.X.21</c:v>
                </c:pt>
                <c:pt idx="295">
                  <c:v>14.X.21</c:v>
                </c:pt>
                <c:pt idx="296">
                  <c:v>15.X.21</c:v>
                </c:pt>
                <c:pt idx="297">
                  <c:v>16.X.21</c:v>
                </c:pt>
                <c:pt idx="298">
                  <c:v>17.X.21</c:v>
                </c:pt>
                <c:pt idx="299">
                  <c:v>18.X.21</c:v>
                </c:pt>
                <c:pt idx="300">
                  <c:v>19.X.21</c:v>
                </c:pt>
                <c:pt idx="301">
                  <c:v>20.X.21</c:v>
                </c:pt>
                <c:pt idx="302">
                  <c:v>21.X.21</c:v>
                </c:pt>
                <c:pt idx="303">
                  <c:v>22.X.21</c:v>
                </c:pt>
                <c:pt idx="304">
                  <c:v>23.X.21</c:v>
                </c:pt>
                <c:pt idx="305">
                  <c:v>24.X.21</c:v>
                </c:pt>
                <c:pt idx="306">
                  <c:v>25.X.21</c:v>
                </c:pt>
                <c:pt idx="307">
                  <c:v>26.X.21</c:v>
                </c:pt>
                <c:pt idx="308">
                  <c:v>27.X.21</c:v>
                </c:pt>
                <c:pt idx="309">
                  <c:v>28.X.21</c:v>
                </c:pt>
                <c:pt idx="310">
                  <c:v>29.X.21</c:v>
                </c:pt>
                <c:pt idx="311">
                  <c:v>30.X.21</c:v>
                </c:pt>
                <c:pt idx="312">
                  <c:v>31.X.21</c:v>
                </c:pt>
                <c:pt idx="313">
                  <c:v>1.XI.21</c:v>
                </c:pt>
                <c:pt idx="314">
                  <c:v>2.XI.21</c:v>
                </c:pt>
                <c:pt idx="315">
                  <c:v>3.XI.21</c:v>
                </c:pt>
                <c:pt idx="316">
                  <c:v>4.XI.21</c:v>
                </c:pt>
                <c:pt idx="317">
                  <c:v>5.XI.21</c:v>
                </c:pt>
                <c:pt idx="318">
                  <c:v>6.XI.21</c:v>
                </c:pt>
                <c:pt idx="319">
                  <c:v>7.XI.21</c:v>
                </c:pt>
                <c:pt idx="320">
                  <c:v>8.XI.21</c:v>
                </c:pt>
                <c:pt idx="321">
                  <c:v>9.XI.21</c:v>
                </c:pt>
                <c:pt idx="322">
                  <c:v>10.XI.21</c:v>
                </c:pt>
                <c:pt idx="323">
                  <c:v>11.XI.21</c:v>
                </c:pt>
                <c:pt idx="324">
                  <c:v>12.XI.21</c:v>
                </c:pt>
                <c:pt idx="325">
                  <c:v>13.XI.21</c:v>
                </c:pt>
                <c:pt idx="326">
                  <c:v>14.XI.21</c:v>
                </c:pt>
                <c:pt idx="327">
                  <c:v>15.XI.21</c:v>
                </c:pt>
                <c:pt idx="328">
                  <c:v>16.XI.21</c:v>
                </c:pt>
                <c:pt idx="329">
                  <c:v>17.XI.21</c:v>
                </c:pt>
                <c:pt idx="330">
                  <c:v>18.XI.21</c:v>
                </c:pt>
                <c:pt idx="331">
                  <c:v>19.XI.21</c:v>
                </c:pt>
                <c:pt idx="332">
                  <c:v>20.XI.21</c:v>
                </c:pt>
                <c:pt idx="333">
                  <c:v>21.XI.21</c:v>
                </c:pt>
                <c:pt idx="334">
                  <c:v>22.XI.21</c:v>
                </c:pt>
                <c:pt idx="335">
                  <c:v>23.XI.21</c:v>
                </c:pt>
                <c:pt idx="336">
                  <c:v>24.XI.21</c:v>
                </c:pt>
                <c:pt idx="337">
                  <c:v>25.XI.21</c:v>
                </c:pt>
                <c:pt idx="338">
                  <c:v>26.XI.21</c:v>
                </c:pt>
                <c:pt idx="339">
                  <c:v>27.XI.21</c:v>
                </c:pt>
                <c:pt idx="340">
                  <c:v>28.XI.21</c:v>
                </c:pt>
                <c:pt idx="341">
                  <c:v>29.XI.21</c:v>
                </c:pt>
                <c:pt idx="342">
                  <c:v>30.XI.21</c:v>
                </c:pt>
                <c:pt idx="343">
                  <c:v>1.XII.21</c:v>
                </c:pt>
                <c:pt idx="344">
                  <c:v>2.XII.21</c:v>
                </c:pt>
                <c:pt idx="345">
                  <c:v>3.XII.21</c:v>
                </c:pt>
                <c:pt idx="346">
                  <c:v>4.XII.21</c:v>
                </c:pt>
                <c:pt idx="347">
                  <c:v>5.XII.21</c:v>
                </c:pt>
                <c:pt idx="348">
                  <c:v>6.XII.21</c:v>
                </c:pt>
                <c:pt idx="349">
                  <c:v>7.XII.21</c:v>
                </c:pt>
                <c:pt idx="350">
                  <c:v>8.XII.21</c:v>
                </c:pt>
                <c:pt idx="351">
                  <c:v>9.XII.21</c:v>
                </c:pt>
                <c:pt idx="352">
                  <c:v>10.XII.21</c:v>
                </c:pt>
                <c:pt idx="353">
                  <c:v>11.XII.21</c:v>
                </c:pt>
                <c:pt idx="354">
                  <c:v>12.XII.21</c:v>
                </c:pt>
                <c:pt idx="355">
                  <c:v>13.XII.21</c:v>
                </c:pt>
                <c:pt idx="356">
                  <c:v>14.XII.21</c:v>
                </c:pt>
                <c:pt idx="357">
                  <c:v>15.XII.21</c:v>
                </c:pt>
                <c:pt idx="358">
                  <c:v>16.XII.21</c:v>
                </c:pt>
                <c:pt idx="359">
                  <c:v>17.XII.21</c:v>
                </c:pt>
                <c:pt idx="360">
                  <c:v>18.XII.21</c:v>
                </c:pt>
                <c:pt idx="361">
                  <c:v>19.XII.21</c:v>
                </c:pt>
                <c:pt idx="362">
                  <c:v>20.XII.21</c:v>
                </c:pt>
                <c:pt idx="363">
                  <c:v>21.XII.21</c:v>
                </c:pt>
                <c:pt idx="364">
                  <c:v>22.XII.21</c:v>
                </c:pt>
                <c:pt idx="365">
                  <c:v>23.XII.21</c:v>
                </c:pt>
                <c:pt idx="366">
                  <c:v>24.XII.21</c:v>
                </c:pt>
                <c:pt idx="367">
                  <c:v>27.XII.21</c:v>
                </c:pt>
                <c:pt idx="368">
                  <c:v>28.XII.21</c:v>
                </c:pt>
                <c:pt idx="369">
                  <c:v>29.XII.21</c:v>
                </c:pt>
                <c:pt idx="370">
                  <c:v>30.XII.21</c:v>
                </c:pt>
                <c:pt idx="371">
                  <c:v>31.XII.21</c:v>
                </c:pt>
                <c:pt idx="372">
                  <c:v>2.I.22</c:v>
                </c:pt>
                <c:pt idx="373">
                  <c:v>3.I.22</c:v>
                </c:pt>
                <c:pt idx="374">
                  <c:v>4.I.22</c:v>
                </c:pt>
                <c:pt idx="375">
                  <c:v>5.I.22</c:v>
                </c:pt>
                <c:pt idx="376">
                  <c:v>6.I.22</c:v>
                </c:pt>
                <c:pt idx="377">
                  <c:v>7.I.22</c:v>
                </c:pt>
                <c:pt idx="378">
                  <c:v>8.I.22</c:v>
                </c:pt>
                <c:pt idx="379">
                  <c:v>9.I.22</c:v>
                </c:pt>
                <c:pt idx="380">
                  <c:v>10.I.22</c:v>
                </c:pt>
                <c:pt idx="381">
                  <c:v>11.I.22</c:v>
                </c:pt>
                <c:pt idx="382">
                  <c:v>12.I.22</c:v>
                </c:pt>
                <c:pt idx="383">
                  <c:v>13.I.22</c:v>
                </c:pt>
                <c:pt idx="384">
                  <c:v>14.I.22</c:v>
                </c:pt>
                <c:pt idx="385">
                  <c:v>15.I.22</c:v>
                </c:pt>
                <c:pt idx="386">
                  <c:v>16.I.22</c:v>
                </c:pt>
                <c:pt idx="387">
                  <c:v>17.I.22</c:v>
                </c:pt>
                <c:pt idx="388">
                  <c:v>18.I.22</c:v>
                </c:pt>
                <c:pt idx="389">
                  <c:v>19.I.22</c:v>
                </c:pt>
                <c:pt idx="390">
                  <c:v>20.I.22</c:v>
                </c:pt>
                <c:pt idx="391">
                  <c:v>21.I.22</c:v>
                </c:pt>
                <c:pt idx="392">
                  <c:v>22.I.22</c:v>
                </c:pt>
                <c:pt idx="393">
                  <c:v>23.I.22</c:v>
                </c:pt>
                <c:pt idx="394">
                  <c:v>24.I.22</c:v>
                </c:pt>
                <c:pt idx="395">
                  <c:v>25.I.22</c:v>
                </c:pt>
                <c:pt idx="396">
                  <c:v>26.I.22</c:v>
                </c:pt>
                <c:pt idx="397">
                  <c:v>27.I.22</c:v>
                </c:pt>
                <c:pt idx="398">
                  <c:v>28.I.22</c:v>
                </c:pt>
                <c:pt idx="399">
                  <c:v>29.I.22</c:v>
                </c:pt>
                <c:pt idx="400">
                  <c:v>30.I.22</c:v>
                </c:pt>
                <c:pt idx="401">
                  <c:v>31.I.22</c:v>
                </c:pt>
                <c:pt idx="402">
                  <c:v>1.II.22</c:v>
                </c:pt>
                <c:pt idx="403">
                  <c:v>2.II.22</c:v>
                </c:pt>
                <c:pt idx="404">
                  <c:v>3.II.22</c:v>
                </c:pt>
                <c:pt idx="405">
                  <c:v>4.II.22</c:v>
                </c:pt>
                <c:pt idx="406">
                  <c:v>5.II.22</c:v>
                </c:pt>
                <c:pt idx="407">
                  <c:v>6.II.22</c:v>
                </c:pt>
                <c:pt idx="408">
                  <c:v>7.II.22</c:v>
                </c:pt>
                <c:pt idx="409">
                  <c:v>8.II.22</c:v>
                </c:pt>
                <c:pt idx="410">
                  <c:v>9.II.22</c:v>
                </c:pt>
                <c:pt idx="411">
                  <c:v>10.II.22</c:v>
                </c:pt>
                <c:pt idx="412">
                  <c:v>11.II.22</c:v>
                </c:pt>
                <c:pt idx="413">
                  <c:v>12.II.22</c:v>
                </c:pt>
                <c:pt idx="414">
                  <c:v>13.II.22</c:v>
                </c:pt>
                <c:pt idx="415">
                  <c:v>14.II.22</c:v>
                </c:pt>
                <c:pt idx="416">
                  <c:v>15.II.22</c:v>
                </c:pt>
                <c:pt idx="417">
                  <c:v>16.II.22</c:v>
                </c:pt>
                <c:pt idx="418">
                  <c:v>17.II.22</c:v>
                </c:pt>
                <c:pt idx="419">
                  <c:v>18.II.22</c:v>
                </c:pt>
                <c:pt idx="420">
                  <c:v>19.II.22</c:v>
                </c:pt>
              </c:strCache>
            </c:strRef>
          </c:cat>
          <c:val>
            <c:numRef>
              <c:f>List1!$E$2:$PI$2</c:f>
              <c:numCache>
                <c:formatCode>General</c:formatCode>
                <c:ptCount val="421"/>
                <c:pt idx="4">
                  <c:v>1050</c:v>
                </c:pt>
                <c:pt idx="5">
                  <c:v>2941</c:v>
                </c:pt>
                <c:pt idx="6">
                  <c:v>5601</c:v>
                </c:pt>
                <c:pt idx="7">
                  <c:v>8294</c:v>
                </c:pt>
                <c:pt idx="8">
                  <c:v>9179</c:v>
                </c:pt>
                <c:pt idx="9">
                  <c:v>9416</c:v>
                </c:pt>
                <c:pt idx="10">
                  <c:v>10576</c:v>
                </c:pt>
                <c:pt idx="11">
                  <c:v>11417</c:v>
                </c:pt>
                <c:pt idx="12">
                  <c:v>14584</c:v>
                </c:pt>
                <c:pt idx="13">
                  <c:v>18502</c:v>
                </c:pt>
                <c:pt idx="14">
                  <c:v>23428</c:v>
                </c:pt>
                <c:pt idx="15">
                  <c:v>29251</c:v>
                </c:pt>
                <c:pt idx="16">
                  <c:v>36036</c:v>
                </c:pt>
                <c:pt idx="17">
                  <c:v>37198</c:v>
                </c:pt>
                <c:pt idx="18">
                  <c:v>38155</c:v>
                </c:pt>
                <c:pt idx="19">
                  <c:v>44564</c:v>
                </c:pt>
                <c:pt idx="20">
                  <c:v>51973</c:v>
                </c:pt>
                <c:pt idx="21">
                  <c:v>58577</c:v>
                </c:pt>
                <c:pt idx="22">
                  <c:v>65547</c:v>
                </c:pt>
                <c:pt idx="23">
                  <c:v>71737</c:v>
                </c:pt>
                <c:pt idx="24">
                  <c:v>72673</c:v>
                </c:pt>
                <c:pt idx="25">
                  <c:v>73221</c:v>
                </c:pt>
                <c:pt idx="26">
                  <c:v>77856</c:v>
                </c:pt>
                <c:pt idx="27">
                  <c:v>81605</c:v>
                </c:pt>
                <c:pt idx="28">
                  <c:v>85268</c:v>
                </c:pt>
                <c:pt idx="29">
                  <c:v>88647</c:v>
                </c:pt>
                <c:pt idx="30">
                  <c:v>91535</c:v>
                </c:pt>
                <c:pt idx="31">
                  <c:v>91924</c:v>
                </c:pt>
                <c:pt idx="32">
                  <c:v>92160</c:v>
                </c:pt>
                <c:pt idx="33">
                  <c:v>93766</c:v>
                </c:pt>
                <c:pt idx="34">
                  <c:v>95531</c:v>
                </c:pt>
                <c:pt idx="35">
                  <c:v>96976</c:v>
                </c:pt>
                <c:pt idx="36">
                  <c:v>98358</c:v>
                </c:pt>
                <c:pt idx="37">
                  <c:v>99639</c:v>
                </c:pt>
                <c:pt idx="38">
                  <c:v>99710</c:v>
                </c:pt>
                <c:pt idx="39">
                  <c:v>99781</c:v>
                </c:pt>
                <c:pt idx="40">
                  <c:v>100675</c:v>
                </c:pt>
                <c:pt idx="41">
                  <c:v>101543</c:v>
                </c:pt>
                <c:pt idx="42">
                  <c:v>102357</c:v>
                </c:pt>
                <c:pt idx="43">
                  <c:v>103066</c:v>
                </c:pt>
                <c:pt idx="44">
                  <c:v>103995</c:v>
                </c:pt>
                <c:pt idx="45">
                  <c:v>104046</c:v>
                </c:pt>
                <c:pt idx="46">
                  <c:v>104097</c:v>
                </c:pt>
                <c:pt idx="47">
                  <c:v>104737</c:v>
                </c:pt>
                <c:pt idx="48">
                  <c:v>105391</c:v>
                </c:pt>
                <c:pt idx="49">
                  <c:v>106256</c:v>
                </c:pt>
                <c:pt idx="50">
                  <c:v>107307</c:v>
                </c:pt>
                <c:pt idx="51">
                  <c:v>108509</c:v>
                </c:pt>
                <c:pt idx="52">
                  <c:v>108894</c:v>
                </c:pt>
                <c:pt idx="53">
                  <c:v>109078</c:v>
                </c:pt>
                <c:pt idx="54">
                  <c:v>110399</c:v>
                </c:pt>
                <c:pt idx="55">
                  <c:v>111690</c:v>
                </c:pt>
                <c:pt idx="56">
                  <c:v>113063</c:v>
                </c:pt>
                <c:pt idx="57">
                  <c:v>114627</c:v>
                </c:pt>
                <c:pt idx="58">
                  <c:v>116484</c:v>
                </c:pt>
                <c:pt idx="59">
                  <c:v>116945</c:v>
                </c:pt>
                <c:pt idx="60">
                  <c:v>117108</c:v>
                </c:pt>
                <c:pt idx="61">
                  <c:v>118698</c:v>
                </c:pt>
                <c:pt idx="62">
                  <c:v>120991</c:v>
                </c:pt>
                <c:pt idx="63">
                  <c:v>123490</c:v>
                </c:pt>
                <c:pt idx="64">
                  <c:v>126519</c:v>
                </c:pt>
                <c:pt idx="65">
                  <c:v>129117</c:v>
                </c:pt>
                <c:pt idx="66">
                  <c:v>129425</c:v>
                </c:pt>
                <c:pt idx="67">
                  <c:v>129646</c:v>
                </c:pt>
                <c:pt idx="68">
                  <c:v>132192</c:v>
                </c:pt>
                <c:pt idx="69">
                  <c:v>134945</c:v>
                </c:pt>
                <c:pt idx="70">
                  <c:v>137612</c:v>
                </c:pt>
                <c:pt idx="71">
                  <c:v>140067</c:v>
                </c:pt>
                <c:pt idx="72">
                  <c:v>143034</c:v>
                </c:pt>
                <c:pt idx="73">
                  <c:v>143741</c:v>
                </c:pt>
                <c:pt idx="74">
                  <c:v>144256</c:v>
                </c:pt>
                <c:pt idx="75">
                  <c:v>146203</c:v>
                </c:pt>
                <c:pt idx="76">
                  <c:v>148350</c:v>
                </c:pt>
                <c:pt idx="77">
                  <c:v>150598</c:v>
                </c:pt>
                <c:pt idx="78">
                  <c:v>153598</c:v>
                </c:pt>
                <c:pt idx="79">
                  <c:v>156219</c:v>
                </c:pt>
                <c:pt idx="80">
                  <c:v>156877</c:v>
                </c:pt>
                <c:pt idx="81">
                  <c:v>157445</c:v>
                </c:pt>
                <c:pt idx="82">
                  <c:v>159025</c:v>
                </c:pt>
                <c:pt idx="83">
                  <c:v>161350</c:v>
                </c:pt>
                <c:pt idx="84">
                  <c:v>163661</c:v>
                </c:pt>
                <c:pt idx="85">
                  <c:v>165687</c:v>
                </c:pt>
                <c:pt idx="86">
                  <c:v>167945</c:v>
                </c:pt>
                <c:pt idx="87">
                  <c:v>168820</c:v>
                </c:pt>
                <c:pt idx="88">
                  <c:v>169267</c:v>
                </c:pt>
                <c:pt idx="89">
                  <c:v>170420</c:v>
                </c:pt>
                <c:pt idx="90">
                  <c:v>171657</c:v>
                </c:pt>
                <c:pt idx="91">
                  <c:v>172726</c:v>
                </c:pt>
                <c:pt idx="92">
                  <c:v>174019</c:v>
                </c:pt>
                <c:pt idx="93">
                  <c:v>175396</c:v>
                </c:pt>
                <c:pt idx="94">
                  <c:v>175770</c:v>
                </c:pt>
                <c:pt idx="95">
                  <c:v>176114</c:v>
                </c:pt>
                <c:pt idx="96">
                  <c:v>176897</c:v>
                </c:pt>
                <c:pt idx="97">
                  <c:v>177925</c:v>
                </c:pt>
                <c:pt idx="98">
                  <c:v>179047</c:v>
                </c:pt>
                <c:pt idx="99">
                  <c:v>180150</c:v>
                </c:pt>
                <c:pt idx="100">
                  <c:v>180417</c:v>
                </c:pt>
                <c:pt idx="101">
                  <c:v>180537</c:v>
                </c:pt>
                <c:pt idx="102">
                  <c:v>180652</c:v>
                </c:pt>
                <c:pt idx="103">
                  <c:v>180724</c:v>
                </c:pt>
                <c:pt idx="104">
                  <c:v>181289</c:v>
                </c:pt>
                <c:pt idx="105">
                  <c:v>181963</c:v>
                </c:pt>
                <c:pt idx="106">
                  <c:v>183207</c:v>
                </c:pt>
                <c:pt idx="107">
                  <c:v>184484</c:v>
                </c:pt>
                <c:pt idx="108">
                  <c:v>184861</c:v>
                </c:pt>
                <c:pt idx="109">
                  <c:v>185110</c:v>
                </c:pt>
                <c:pt idx="110">
                  <c:v>186050</c:v>
                </c:pt>
                <c:pt idx="111">
                  <c:v>186864</c:v>
                </c:pt>
                <c:pt idx="112">
                  <c:v>187808</c:v>
                </c:pt>
                <c:pt idx="113">
                  <c:v>189176</c:v>
                </c:pt>
                <c:pt idx="114">
                  <c:v>190724</c:v>
                </c:pt>
                <c:pt idx="115">
                  <c:v>191147</c:v>
                </c:pt>
                <c:pt idx="116">
                  <c:v>191588</c:v>
                </c:pt>
                <c:pt idx="117">
                  <c:v>192694</c:v>
                </c:pt>
                <c:pt idx="118">
                  <c:v>193742</c:v>
                </c:pt>
                <c:pt idx="119">
                  <c:v>195034</c:v>
                </c:pt>
                <c:pt idx="120">
                  <c:v>196505</c:v>
                </c:pt>
                <c:pt idx="121">
                  <c:v>198019</c:v>
                </c:pt>
                <c:pt idx="122">
                  <c:v>198459</c:v>
                </c:pt>
                <c:pt idx="123">
                  <c:v>198833</c:v>
                </c:pt>
                <c:pt idx="124">
                  <c:v>200030</c:v>
                </c:pt>
                <c:pt idx="125">
                  <c:v>201120</c:v>
                </c:pt>
                <c:pt idx="126">
                  <c:v>202508</c:v>
                </c:pt>
                <c:pt idx="127">
                  <c:v>203985</c:v>
                </c:pt>
                <c:pt idx="128">
                  <c:v>205389</c:v>
                </c:pt>
                <c:pt idx="129">
                  <c:v>205726</c:v>
                </c:pt>
                <c:pt idx="130">
                  <c:v>206063</c:v>
                </c:pt>
                <c:pt idx="131">
                  <c:v>207146</c:v>
                </c:pt>
                <c:pt idx="132">
                  <c:v>208252</c:v>
                </c:pt>
                <c:pt idx="133">
                  <c:v>209398</c:v>
                </c:pt>
                <c:pt idx="134">
                  <c:v>210594</c:v>
                </c:pt>
                <c:pt idx="135">
                  <c:v>211900</c:v>
                </c:pt>
                <c:pt idx="136">
                  <c:v>212402</c:v>
                </c:pt>
                <c:pt idx="137">
                  <c:v>212711</c:v>
                </c:pt>
                <c:pt idx="138">
                  <c:v>213683</c:v>
                </c:pt>
                <c:pt idx="139">
                  <c:v>214711</c:v>
                </c:pt>
                <c:pt idx="140">
                  <c:v>215751</c:v>
                </c:pt>
                <c:pt idx="141">
                  <c:v>216892</c:v>
                </c:pt>
                <c:pt idx="142">
                  <c:v>217895</c:v>
                </c:pt>
                <c:pt idx="143">
                  <c:v>218336</c:v>
                </c:pt>
                <c:pt idx="144">
                  <c:v>218622</c:v>
                </c:pt>
                <c:pt idx="145">
                  <c:v>219410</c:v>
                </c:pt>
                <c:pt idx="146">
                  <c:v>220293</c:v>
                </c:pt>
                <c:pt idx="147">
                  <c:v>221203</c:v>
                </c:pt>
                <c:pt idx="148">
                  <c:v>222141</c:v>
                </c:pt>
                <c:pt idx="149">
                  <c:v>223070</c:v>
                </c:pt>
                <c:pt idx="150">
                  <c:v>223422</c:v>
                </c:pt>
                <c:pt idx="151">
                  <c:v>223651</c:v>
                </c:pt>
                <c:pt idx="152">
                  <c:v>224203</c:v>
                </c:pt>
                <c:pt idx="153">
                  <c:v>224831</c:v>
                </c:pt>
                <c:pt idx="154">
                  <c:v>225685</c:v>
                </c:pt>
                <c:pt idx="155">
                  <c:v>226467</c:v>
                </c:pt>
                <c:pt idx="156">
                  <c:v>227296</c:v>
                </c:pt>
                <c:pt idx="157">
                  <c:v>227663</c:v>
                </c:pt>
                <c:pt idx="158">
                  <c:v>227952</c:v>
                </c:pt>
                <c:pt idx="159">
                  <c:v>228647</c:v>
                </c:pt>
                <c:pt idx="160">
                  <c:v>229369</c:v>
                </c:pt>
                <c:pt idx="161">
                  <c:v>230259</c:v>
                </c:pt>
                <c:pt idx="162">
                  <c:v>231100</c:v>
                </c:pt>
                <c:pt idx="163">
                  <c:v>231990</c:v>
                </c:pt>
                <c:pt idx="164">
                  <c:v>232414</c:v>
                </c:pt>
                <c:pt idx="165">
                  <c:v>232820</c:v>
                </c:pt>
                <c:pt idx="166">
                  <c:v>233717</c:v>
                </c:pt>
                <c:pt idx="167">
                  <c:v>234703</c:v>
                </c:pt>
                <c:pt idx="168">
                  <c:v>235628</c:v>
                </c:pt>
                <c:pt idx="169">
                  <c:v>236509</c:v>
                </c:pt>
                <c:pt idx="170">
                  <c:v>237368</c:v>
                </c:pt>
                <c:pt idx="171">
                  <c:v>237897</c:v>
                </c:pt>
                <c:pt idx="172">
                  <c:v>238272</c:v>
                </c:pt>
                <c:pt idx="173">
                  <c:v>238942</c:v>
                </c:pt>
                <c:pt idx="174">
                  <c:v>239706</c:v>
                </c:pt>
                <c:pt idx="175">
                  <c:v>240412</c:v>
                </c:pt>
                <c:pt idx="176">
                  <c:v>241129</c:v>
                </c:pt>
                <c:pt idx="177">
                  <c:v>241806</c:v>
                </c:pt>
                <c:pt idx="178">
                  <c:v>242143</c:v>
                </c:pt>
                <c:pt idx="179">
                  <c:v>242404</c:v>
                </c:pt>
                <c:pt idx="180">
                  <c:v>242920</c:v>
                </c:pt>
                <c:pt idx="181">
                  <c:v>243510</c:v>
                </c:pt>
                <c:pt idx="182">
                  <c:v>244010</c:v>
                </c:pt>
                <c:pt idx="183">
                  <c:v>244512</c:v>
                </c:pt>
                <c:pt idx="184">
                  <c:v>245015</c:v>
                </c:pt>
                <c:pt idx="185">
                  <c:v>245272</c:v>
                </c:pt>
                <c:pt idx="186">
                  <c:v>245465</c:v>
                </c:pt>
                <c:pt idx="187">
                  <c:v>245963</c:v>
                </c:pt>
                <c:pt idx="188">
                  <c:v>246425</c:v>
                </c:pt>
                <c:pt idx="189">
                  <c:v>246908</c:v>
                </c:pt>
                <c:pt idx="190">
                  <c:v>247271</c:v>
                </c:pt>
                <c:pt idx="191">
                  <c:v>247756</c:v>
                </c:pt>
                <c:pt idx="192">
                  <c:v>247854</c:v>
                </c:pt>
                <c:pt idx="193">
                  <c:v>247972</c:v>
                </c:pt>
                <c:pt idx="194">
                  <c:v>248085</c:v>
                </c:pt>
                <c:pt idx="195">
                  <c:v>248186</c:v>
                </c:pt>
                <c:pt idx="196">
                  <c:v>248598</c:v>
                </c:pt>
                <c:pt idx="197">
                  <c:v>249049</c:v>
                </c:pt>
                <c:pt idx="198">
                  <c:v>249495</c:v>
                </c:pt>
                <c:pt idx="199">
                  <c:v>249663</c:v>
                </c:pt>
                <c:pt idx="200">
                  <c:v>249784</c:v>
                </c:pt>
                <c:pt idx="201">
                  <c:v>250229</c:v>
                </c:pt>
                <c:pt idx="202">
                  <c:v>250677</c:v>
                </c:pt>
                <c:pt idx="203">
                  <c:v>251167</c:v>
                </c:pt>
                <c:pt idx="204">
                  <c:v>251667</c:v>
                </c:pt>
                <c:pt idx="205">
                  <c:v>252156</c:v>
                </c:pt>
                <c:pt idx="206">
                  <c:v>252338</c:v>
                </c:pt>
                <c:pt idx="207">
                  <c:v>252484</c:v>
                </c:pt>
                <c:pt idx="208">
                  <c:v>252907</c:v>
                </c:pt>
                <c:pt idx="209">
                  <c:v>253262</c:v>
                </c:pt>
                <c:pt idx="210">
                  <c:v>253731</c:v>
                </c:pt>
                <c:pt idx="211">
                  <c:v>254127</c:v>
                </c:pt>
                <c:pt idx="212">
                  <c:v>254520</c:v>
                </c:pt>
                <c:pt idx="213">
                  <c:v>254631</c:v>
                </c:pt>
                <c:pt idx="214">
                  <c:v>254721</c:v>
                </c:pt>
                <c:pt idx="215">
                  <c:v>255112</c:v>
                </c:pt>
                <c:pt idx="216">
                  <c:v>255532</c:v>
                </c:pt>
                <c:pt idx="217">
                  <c:v>255895</c:v>
                </c:pt>
                <c:pt idx="218">
                  <c:v>256232</c:v>
                </c:pt>
                <c:pt idx="219">
                  <c:v>256653</c:v>
                </c:pt>
                <c:pt idx="220">
                  <c:v>256775</c:v>
                </c:pt>
                <c:pt idx="221">
                  <c:v>256878</c:v>
                </c:pt>
                <c:pt idx="222">
                  <c:v>257161</c:v>
                </c:pt>
                <c:pt idx="223">
                  <c:v>257429</c:v>
                </c:pt>
                <c:pt idx="224">
                  <c:v>257743</c:v>
                </c:pt>
                <c:pt idx="225">
                  <c:v>258010</c:v>
                </c:pt>
                <c:pt idx="226">
                  <c:v>258292</c:v>
                </c:pt>
                <c:pt idx="227">
                  <c:v>258365</c:v>
                </c:pt>
                <c:pt idx="228">
                  <c:v>258429</c:v>
                </c:pt>
                <c:pt idx="229">
                  <c:v>258640</c:v>
                </c:pt>
                <c:pt idx="230">
                  <c:v>258850</c:v>
                </c:pt>
                <c:pt idx="231">
                  <c:v>259013</c:v>
                </c:pt>
                <c:pt idx="232">
                  <c:v>259247</c:v>
                </c:pt>
                <c:pt idx="233">
                  <c:v>259439</c:v>
                </c:pt>
                <c:pt idx="234">
                  <c:v>259496</c:v>
                </c:pt>
                <c:pt idx="235">
                  <c:v>259542</c:v>
                </c:pt>
                <c:pt idx="236">
                  <c:v>259723</c:v>
                </c:pt>
                <c:pt idx="237">
                  <c:v>259905</c:v>
                </c:pt>
                <c:pt idx="238">
                  <c:v>260073</c:v>
                </c:pt>
                <c:pt idx="239">
                  <c:v>260237</c:v>
                </c:pt>
                <c:pt idx="240">
                  <c:v>260483</c:v>
                </c:pt>
                <c:pt idx="241">
                  <c:v>260525</c:v>
                </c:pt>
                <c:pt idx="242">
                  <c:v>260558</c:v>
                </c:pt>
                <c:pt idx="243">
                  <c:v>260759</c:v>
                </c:pt>
                <c:pt idx="244">
                  <c:v>260950</c:v>
                </c:pt>
                <c:pt idx="245">
                  <c:v>261117</c:v>
                </c:pt>
                <c:pt idx="246">
                  <c:v>261279</c:v>
                </c:pt>
                <c:pt idx="247">
                  <c:v>261498</c:v>
                </c:pt>
                <c:pt idx="248">
                  <c:v>261542</c:v>
                </c:pt>
                <c:pt idx="249">
                  <c:v>261575</c:v>
                </c:pt>
                <c:pt idx="250">
                  <c:v>261748</c:v>
                </c:pt>
                <c:pt idx="251">
                  <c:v>261913</c:v>
                </c:pt>
                <c:pt idx="252">
                  <c:v>262038</c:v>
                </c:pt>
                <c:pt idx="253">
                  <c:v>262213</c:v>
                </c:pt>
                <c:pt idx="254">
                  <c:v>262408</c:v>
                </c:pt>
                <c:pt idx="255">
                  <c:v>262443</c:v>
                </c:pt>
                <c:pt idx="256">
                  <c:v>262476</c:v>
                </c:pt>
                <c:pt idx="257">
                  <c:v>262612</c:v>
                </c:pt>
                <c:pt idx="258">
                  <c:v>262702</c:v>
                </c:pt>
                <c:pt idx="259">
                  <c:v>262826</c:v>
                </c:pt>
                <c:pt idx="260">
                  <c:v>262969</c:v>
                </c:pt>
                <c:pt idx="261">
                  <c:v>263115</c:v>
                </c:pt>
                <c:pt idx="262">
                  <c:v>263150</c:v>
                </c:pt>
                <c:pt idx="263">
                  <c:v>263173</c:v>
                </c:pt>
                <c:pt idx="264">
                  <c:v>263284</c:v>
                </c:pt>
                <c:pt idx="265">
                  <c:v>263416</c:v>
                </c:pt>
                <c:pt idx="266">
                  <c:v>263523</c:v>
                </c:pt>
                <c:pt idx="267">
                  <c:v>263644</c:v>
                </c:pt>
                <c:pt idx="268">
                  <c:v>263808</c:v>
                </c:pt>
                <c:pt idx="269">
                  <c:v>263849</c:v>
                </c:pt>
                <c:pt idx="270">
                  <c:v>263862</c:v>
                </c:pt>
                <c:pt idx="271">
                  <c:v>263964</c:v>
                </c:pt>
                <c:pt idx="272">
                  <c:v>264068</c:v>
                </c:pt>
                <c:pt idx="273">
                  <c:v>264165</c:v>
                </c:pt>
                <c:pt idx="274">
                  <c:v>264299</c:v>
                </c:pt>
                <c:pt idx="275">
                  <c:v>264465</c:v>
                </c:pt>
                <c:pt idx="276">
                  <c:v>264497</c:v>
                </c:pt>
                <c:pt idx="277">
                  <c:v>264507</c:v>
                </c:pt>
                <c:pt idx="278">
                  <c:v>264604</c:v>
                </c:pt>
                <c:pt idx="279">
                  <c:v>264612</c:v>
                </c:pt>
                <c:pt idx="280">
                  <c:v>264697</c:v>
                </c:pt>
                <c:pt idx="281">
                  <c:v>264797</c:v>
                </c:pt>
                <c:pt idx="282">
                  <c:v>264889</c:v>
                </c:pt>
                <c:pt idx="283">
                  <c:v>264910</c:v>
                </c:pt>
                <c:pt idx="284">
                  <c:v>264924</c:v>
                </c:pt>
                <c:pt idx="285">
                  <c:v>264992</c:v>
                </c:pt>
                <c:pt idx="286">
                  <c:v>265075</c:v>
                </c:pt>
                <c:pt idx="287">
                  <c:v>265174</c:v>
                </c:pt>
                <c:pt idx="288">
                  <c:v>265244</c:v>
                </c:pt>
                <c:pt idx="289">
                  <c:v>265356</c:v>
                </c:pt>
                <c:pt idx="290">
                  <c:v>265381</c:v>
                </c:pt>
                <c:pt idx="291">
                  <c:v>265393</c:v>
                </c:pt>
                <c:pt idx="292">
                  <c:v>265470</c:v>
                </c:pt>
                <c:pt idx="293">
                  <c:v>265555</c:v>
                </c:pt>
                <c:pt idx="294">
                  <c:v>265636</c:v>
                </c:pt>
                <c:pt idx="295">
                  <c:v>265704</c:v>
                </c:pt>
                <c:pt idx="296">
                  <c:v>265825</c:v>
                </c:pt>
                <c:pt idx="297">
                  <c:v>265856</c:v>
                </c:pt>
                <c:pt idx="298">
                  <c:v>265886</c:v>
                </c:pt>
                <c:pt idx="299">
                  <c:v>266017</c:v>
                </c:pt>
                <c:pt idx="300">
                  <c:v>266112</c:v>
                </c:pt>
                <c:pt idx="301">
                  <c:v>266243</c:v>
                </c:pt>
                <c:pt idx="302">
                  <c:v>266482</c:v>
                </c:pt>
                <c:pt idx="303">
                  <c:v>266789</c:v>
                </c:pt>
                <c:pt idx="304">
                  <c:v>266872</c:v>
                </c:pt>
                <c:pt idx="305">
                  <c:v>266936</c:v>
                </c:pt>
                <c:pt idx="306">
                  <c:v>267198</c:v>
                </c:pt>
                <c:pt idx="307">
                  <c:v>267560</c:v>
                </c:pt>
                <c:pt idx="308">
                  <c:v>267979</c:v>
                </c:pt>
                <c:pt idx="309">
                  <c:v>268063</c:v>
                </c:pt>
                <c:pt idx="310">
                  <c:v>268442</c:v>
                </c:pt>
                <c:pt idx="311">
                  <c:v>268550</c:v>
                </c:pt>
                <c:pt idx="312">
                  <c:v>268620</c:v>
                </c:pt>
                <c:pt idx="313">
                  <c:v>269036</c:v>
                </c:pt>
                <c:pt idx="314">
                  <c:v>269454</c:v>
                </c:pt>
                <c:pt idx="315">
                  <c:v>269871</c:v>
                </c:pt>
                <c:pt idx="316">
                  <c:v>270370</c:v>
                </c:pt>
                <c:pt idx="317">
                  <c:v>270932</c:v>
                </c:pt>
                <c:pt idx="318">
                  <c:v>271087</c:v>
                </c:pt>
                <c:pt idx="319">
                  <c:v>271181</c:v>
                </c:pt>
                <c:pt idx="320">
                  <c:v>271580</c:v>
                </c:pt>
                <c:pt idx="321">
                  <c:v>271920</c:v>
                </c:pt>
                <c:pt idx="322">
                  <c:v>272305</c:v>
                </c:pt>
                <c:pt idx="323">
                  <c:v>272704</c:v>
                </c:pt>
                <c:pt idx="324">
                  <c:v>273239</c:v>
                </c:pt>
                <c:pt idx="325">
                  <c:v>273363</c:v>
                </c:pt>
                <c:pt idx="326">
                  <c:v>273449</c:v>
                </c:pt>
                <c:pt idx="327">
                  <c:v>273869</c:v>
                </c:pt>
                <c:pt idx="328">
                  <c:v>274338</c:v>
                </c:pt>
                <c:pt idx="329">
                  <c:v>274442</c:v>
                </c:pt>
                <c:pt idx="330">
                  <c:v>274951</c:v>
                </c:pt>
                <c:pt idx="331">
                  <c:v>275574</c:v>
                </c:pt>
                <c:pt idx="332">
                  <c:v>275770</c:v>
                </c:pt>
                <c:pt idx="333">
                  <c:v>275912</c:v>
                </c:pt>
                <c:pt idx="334">
                  <c:v>276333</c:v>
                </c:pt>
                <c:pt idx="335">
                  <c:v>276754</c:v>
                </c:pt>
                <c:pt idx="336">
                  <c:v>277216</c:v>
                </c:pt>
                <c:pt idx="337">
                  <c:v>277693</c:v>
                </c:pt>
                <c:pt idx="338">
                  <c:v>278210</c:v>
                </c:pt>
                <c:pt idx="339">
                  <c:v>278360</c:v>
                </c:pt>
                <c:pt idx="340">
                  <c:v>278411</c:v>
                </c:pt>
                <c:pt idx="341">
                  <c:v>278761</c:v>
                </c:pt>
                <c:pt idx="342">
                  <c:v>279096</c:v>
                </c:pt>
                <c:pt idx="343">
                  <c:v>279445</c:v>
                </c:pt>
                <c:pt idx="344">
                  <c:v>279698</c:v>
                </c:pt>
                <c:pt idx="345">
                  <c:v>279962</c:v>
                </c:pt>
                <c:pt idx="346">
                  <c:v>280015</c:v>
                </c:pt>
                <c:pt idx="347">
                  <c:v>280035</c:v>
                </c:pt>
                <c:pt idx="348">
                  <c:v>280226</c:v>
                </c:pt>
                <c:pt idx="349">
                  <c:v>280406</c:v>
                </c:pt>
                <c:pt idx="350">
                  <c:v>280615</c:v>
                </c:pt>
                <c:pt idx="351">
                  <c:v>280783</c:v>
                </c:pt>
                <c:pt idx="352">
                  <c:v>280971</c:v>
                </c:pt>
                <c:pt idx="353">
                  <c:v>281007</c:v>
                </c:pt>
                <c:pt idx="354">
                  <c:v>281033</c:v>
                </c:pt>
                <c:pt idx="355">
                  <c:v>281208</c:v>
                </c:pt>
                <c:pt idx="356">
                  <c:v>281354</c:v>
                </c:pt>
                <c:pt idx="357">
                  <c:v>281492</c:v>
                </c:pt>
                <c:pt idx="358">
                  <c:v>281664</c:v>
                </c:pt>
                <c:pt idx="359">
                  <c:v>281855</c:v>
                </c:pt>
                <c:pt idx="360">
                  <c:v>281910</c:v>
                </c:pt>
                <c:pt idx="361">
                  <c:v>281925</c:v>
                </c:pt>
                <c:pt idx="362">
                  <c:v>282048</c:v>
                </c:pt>
                <c:pt idx="363">
                  <c:v>282153</c:v>
                </c:pt>
                <c:pt idx="364">
                  <c:v>282244</c:v>
                </c:pt>
                <c:pt idx="365">
                  <c:v>282276</c:v>
                </c:pt>
                <c:pt idx="366">
                  <c:v>282277</c:v>
                </c:pt>
                <c:pt idx="367">
                  <c:v>282339</c:v>
                </c:pt>
                <c:pt idx="368">
                  <c:v>282408</c:v>
                </c:pt>
                <c:pt idx="369">
                  <c:v>282476</c:v>
                </c:pt>
                <c:pt idx="370">
                  <c:v>282548</c:v>
                </c:pt>
                <c:pt idx="371">
                  <c:v>282555</c:v>
                </c:pt>
                <c:pt idx="372">
                  <c:v>282562</c:v>
                </c:pt>
                <c:pt idx="373">
                  <c:v>282645</c:v>
                </c:pt>
                <c:pt idx="374">
                  <c:v>282725</c:v>
                </c:pt>
                <c:pt idx="375">
                  <c:v>282828</c:v>
                </c:pt>
                <c:pt idx="376">
                  <c:v>282943</c:v>
                </c:pt>
                <c:pt idx="377">
                  <c:v>283121</c:v>
                </c:pt>
                <c:pt idx="378">
                  <c:v>283143</c:v>
                </c:pt>
                <c:pt idx="379">
                  <c:v>283160</c:v>
                </c:pt>
                <c:pt idx="380">
                  <c:v>283246</c:v>
                </c:pt>
                <c:pt idx="381">
                  <c:v>283341</c:v>
                </c:pt>
                <c:pt idx="382">
                  <c:v>283448</c:v>
                </c:pt>
                <c:pt idx="383">
                  <c:v>283566</c:v>
                </c:pt>
                <c:pt idx="384">
                  <c:v>283722</c:v>
                </c:pt>
                <c:pt idx="385">
                  <c:v>283759</c:v>
                </c:pt>
                <c:pt idx="386">
                  <c:v>283775</c:v>
                </c:pt>
                <c:pt idx="387">
                  <c:v>283869</c:v>
                </c:pt>
                <c:pt idx="388">
                  <c:v>283974</c:v>
                </c:pt>
                <c:pt idx="389">
                  <c:v>284043</c:v>
                </c:pt>
                <c:pt idx="390">
                  <c:v>284105</c:v>
                </c:pt>
                <c:pt idx="391">
                  <c:v>284202</c:v>
                </c:pt>
                <c:pt idx="392">
                  <c:v>284210</c:v>
                </c:pt>
                <c:pt idx="393">
                  <c:v>284218</c:v>
                </c:pt>
                <c:pt idx="394">
                  <c:v>284258</c:v>
                </c:pt>
                <c:pt idx="395">
                  <c:v>284299</c:v>
                </c:pt>
                <c:pt idx="396">
                  <c:v>284343</c:v>
                </c:pt>
                <c:pt idx="397">
                  <c:v>284380</c:v>
                </c:pt>
                <c:pt idx="398">
                  <c:v>284443</c:v>
                </c:pt>
                <c:pt idx="399">
                  <c:v>284457</c:v>
                </c:pt>
                <c:pt idx="400">
                  <c:v>284460</c:v>
                </c:pt>
                <c:pt idx="401">
                  <c:v>284484</c:v>
                </c:pt>
                <c:pt idx="402">
                  <c:v>284505</c:v>
                </c:pt>
                <c:pt idx="403">
                  <c:v>284531</c:v>
                </c:pt>
                <c:pt idx="404">
                  <c:v>284551</c:v>
                </c:pt>
                <c:pt idx="405">
                  <c:v>284583</c:v>
                </c:pt>
                <c:pt idx="406">
                  <c:v>284585</c:v>
                </c:pt>
                <c:pt idx="407">
                  <c:v>284586</c:v>
                </c:pt>
                <c:pt idx="408">
                  <c:v>284600</c:v>
                </c:pt>
                <c:pt idx="409">
                  <c:v>284612</c:v>
                </c:pt>
                <c:pt idx="410">
                  <c:v>284623</c:v>
                </c:pt>
                <c:pt idx="411">
                  <c:v>284637</c:v>
                </c:pt>
                <c:pt idx="412">
                  <c:v>284661</c:v>
                </c:pt>
                <c:pt idx="413">
                  <c:v>284662</c:v>
                </c:pt>
                <c:pt idx="414">
                  <c:v>284663</c:v>
                </c:pt>
                <c:pt idx="415">
                  <c:v>284670</c:v>
                </c:pt>
                <c:pt idx="416">
                  <c:v>284679</c:v>
                </c:pt>
                <c:pt idx="417">
                  <c:v>284688</c:v>
                </c:pt>
                <c:pt idx="418">
                  <c:v>284693</c:v>
                </c:pt>
                <c:pt idx="419">
                  <c:v>284697</c:v>
                </c:pt>
                <c:pt idx="420">
                  <c:v>2846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E$1:$PI$1</c:f>
              <c:strCache>
                <c:ptCount val="421"/>
                <c:pt idx="0">
                  <c:v>23-XII.20</c:v>
                </c:pt>
                <c:pt idx="1">
                  <c:v>24-XII.20</c:v>
                </c:pt>
                <c:pt idx="2">
                  <c:v>25-XII.20</c:v>
                </c:pt>
                <c:pt idx="3">
                  <c:v>26-XII.20</c:v>
                </c:pt>
                <c:pt idx="4">
                  <c:v>27.XII.20</c:v>
                </c:pt>
                <c:pt idx="5">
                  <c:v>28.XII.20</c:v>
                </c:pt>
                <c:pt idx="6">
                  <c:v>29.XII.20</c:v>
                </c:pt>
                <c:pt idx="7">
                  <c:v>30.XII.20</c:v>
                </c:pt>
                <c:pt idx="8">
                  <c:v>31.XII.20</c:v>
                </c:pt>
                <c:pt idx="9">
                  <c:v>1.I.21</c:v>
                </c:pt>
                <c:pt idx="10">
                  <c:v>2.I.21</c:v>
                </c:pt>
                <c:pt idx="11">
                  <c:v>3.I.21</c:v>
                </c:pt>
                <c:pt idx="12">
                  <c:v>4.I.21</c:v>
                </c:pt>
                <c:pt idx="13">
                  <c:v>5.I.21</c:v>
                </c:pt>
                <c:pt idx="14">
                  <c:v>6.I.21</c:v>
                </c:pt>
                <c:pt idx="15">
                  <c:v>7.I.21</c:v>
                </c:pt>
                <c:pt idx="16">
                  <c:v>8.I.21</c:v>
                </c:pt>
                <c:pt idx="17">
                  <c:v>9.I.21</c:v>
                </c:pt>
                <c:pt idx="18">
                  <c:v>10.I.21</c:v>
                </c:pt>
                <c:pt idx="19">
                  <c:v>11.I.21</c:v>
                </c:pt>
                <c:pt idx="20">
                  <c:v>12.I.21</c:v>
                </c:pt>
                <c:pt idx="21">
                  <c:v>13.I.21</c:v>
                </c:pt>
                <c:pt idx="22">
                  <c:v>14.I.21</c:v>
                </c:pt>
                <c:pt idx="23">
                  <c:v>15.I.21</c:v>
                </c:pt>
                <c:pt idx="24">
                  <c:v>16.I.21</c:v>
                </c:pt>
                <c:pt idx="25">
                  <c:v>17.I.21</c:v>
                </c:pt>
                <c:pt idx="26">
                  <c:v>18.I.21</c:v>
                </c:pt>
                <c:pt idx="27">
                  <c:v>19.I.21</c:v>
                </c:pt>
                <c:pt idx="28">
                  <c:v>20.I.21</c:v>
                </c:pt>
                <c:pt idx="29">
                  <c:v>21.I.21</c:v>
                </c:pt>
                <c:pt idx="30">
                  <c:v>22.I.21</c:v>
                </c:pt>
                <c:pt idx="31">
                  <c:v>23.I.21</c:v>
                </c:pt>
                <c:pt idx="32">
                  <c:v>24.I.21</c:v>
                </c:pt>
                <c:pt idx="33">
                  <c:v>25.I.21</c:v>
                </c:pt>
                <c:pt idx="34">
                  <c:v>26.I.21</c:v>
                </c:pt>
                <c:pt idx="35">
                  <c:v>27.I.21</c:v>
                </c:pt>
                <c:pt idx="36">
                  <c:v>28.I.21</c:v>
                </c:pt>
                <c:pt idx="37">
                  <c:v>29.I.21</c:v>
                </c:pt>
                <c:pt idx="38">
                  <c:v>30.I.21</c:v>
                </c:pt>
                <c:pt idx="39">
                  <c:v>31.I.21</c:v>
                </c:pt>
                <c:pt idx="40">
                  <c:v>1.II.21</c:v>
                </c:pt>
                <c:pt idx="41">
                  <c:v>2.II.21</c:v>
                </c:pt>
                <c:pt idx="42">
                  <c:v>3.II.21</c:v>
                </c:pt>
                <c:pt idx="43">
                  <c:v>4.II.21</c:v>
                </c:pt>
                <c:pt idx="44">
                  <c:v>5.II.21</c:v>
                </c:pt>
                <c:pt idx="45">
                  <c:v>6.II.21</c:v>
                </c:pt>
                <c:pt idx="46">
                  <c:v>7.II.21</c:v>
                </c:pt>
                <c:pt idx="47">
                  <c:v>8.II.21</c:v>
                </c:pt>
                <c:pt idx="48">
                  <c:v>9.II.21</c:v>
                </c:pt>
                <c:pt idx="49">
                  <c:v>10.II.21</c:v>
                </c:pt>
                <c:pt idx="50">
                  <c:v>11.II.21</c:v>
                </c:pt>
                <c:pt idx="51">
                  <c:v>12.II.21</c:v>
                </c:pt>
                <c:pt idx="52">
                  <c:v>13.II.21</c:v>
                </c:pt>
                <c:pt idx="53">
                  <c:v>14.II.21</c:v>
                </c:pt>
                <c:pt idx="54">
                  <c:v>15.II.21</c:v>
                </c:pt>
                <c:pt idx="55">
                  <c:v>16.II.21</c:v>
                </c:pt>
                <c:pt idx="56">
                  <c:v>17.II.21</c:v>
                </c:pt>
                <c:pt idx="57">
                  <c:v>18.II.21</c:v>
                </c:pt>
                <c:pt idx="58">
                  <c:v>19.II.21</c:v>
                </c:pt>
                <c:pt idx="59">
                  <c:v>20.II.21</c:v>
                </c:pt>
                <c:pt idx="60">
                  <c:v>21.II.21</c:v>
                </c:pt>
                <c:pt idx="61">
                  <c:v>22.II.21</c:v>
                </c:pt>
                <c:pt idx="62">
                  <c:v>23.II.21</c:v>
                </c:pt>
                <c:pt idx="63">
                  <c:v>24.II.21</c:v>
                </c:pt>
                <c:pt idx="64">
                  <c:v>25.II.21</c:v>
                </c:pt>
                <c:pt idx="65">
                  <c:v>26.II.21</c:v>
                </c:pt>
                <c:pt idx="66">
                  <c:v>27.II.21</c:v>
                </c:pt>
                <c:pt idx="67">
                  <c:v>28.II.21</c:v>
                </c:pt>
                <c:pt idx="68">
                  <c:v>1.III.21</c:v>
                </c:pt>
                <c:pt idx="69">
                  <c:v>2.III.21</c:v>
                </c:pt>
                <c:pt idx="70">
                  <c:v>3.III.21</c:v>
                </c:pt>
                <c:pt idx="71">
                  <c:v>4.III.21</c:v>
                </c:pt>
                <c:pt idx="72">
                  <c:v>5.III.21</c:v>
                </c:pt>
                <c:pt idx="73">
                  <c:v>6.III.21</c:v>
                </c:pt>
                <c:pt idx="74">
                  <c:v>7.III.21</c:v>
                </c:pt>
                <c:pt idx="75">
                  <c:v>8.III.21</c:v>
                </c:pt>
                <c:pt idx="76">
                  <c:v>9.III.21</c:v>
                </c:pt>
                <c:pt idx="77">
                  <c:v>10.III.21</c:v>
                </c:pt>
                <c:pt idx="78">
                  <c:v>11.III.21</c:v>
                </c:pt>
                <c:pt idx="79">
                  <c:v>12.III.21</c:v>
                </c:pt>
                <c:pt idx="80">
                  <c:v>13.III.21</c:v>
                </c:pt>
                <c:pt idx="81">
                  <c:v>14.III.21</c:v>
                </c:pt>
                <c:pt idx="82">
                  <c:v>15.III.21</c:v>
                </c:pt>
                <c:pt idx="83">
                  <c:v>16.III.21</c:v>
                </c:pt>
                <c:pt idx="84">
                  <c:v>17.III.21</c:v>
                </c:pt>
                <c:pt idx="85">
                  <c:v>18.III.21</c:v>
                </c:pt>
                <c:pt idx="86">
                  <c:v>19.III.21</c:v>
                </c:pt>
                <c:pt idx="87">
                  <c:v>20.III.21</c:v>
                </c:pt>
                <c:pt idx="88">
                  <c:v>21.III.21</c:v>
                </c:pt>
                <c:pt idx="89">
                  <c:v>22.III.21</c:v>
                </c:pt>
                <c:pt idx="90">
                  <c:v>23.III.21</c:v>
                </c:pt>
                <c:pt idx="91">
                  <c:v>24.III.21</c:v>
                </c:pt>
                <c:pt idx="92">
                  <c:v>25.III.21</c:v>
                </c:pt>
                <c:pt idx="93">
                  <c:v>26.III.21</c:v>
                </c:pt>
                <c:pt idx="94">
                  <c:v>27.III.21</c:v>
                </c:pt>
                <c:pt idx="95">
                  <c:v>28.III.21</c:v>
                </c:pt>
                <c:pt idx="96">
                  <c:v>29.III.21</c:v>
                </c:pt>
                <c:pt idx="97">
                  <c:v>30.III.21</c:v>
                </c:pt>
                <c:pt idx="98">
                  <c:v>31.III.21</c:v>
                </c:pt>
                <c:pt idx="99">
                  <c:v>1.IV.21</c:v>
                </c:pt>
                <c:pt idx="100">
                  <c:v>2.IV.21</c:v>
                </c:pt>
                <c:pt idx="101">
                  <c:v>3.IV.21</c:v>
                </c:pt>
                <c:pt idx="102">
                  <c:v>4.IV.21</c:v>
                </c:pt>
                <c:pt idx="103">
                  <c:v>5.IV.21</c:v>
                </c:pt>
                <c:pt idx="104">
                  <c:v>6.IV.21</c:v>
                </c:pt>
                <c:pt idx="105">
                  <c:v>7.IV.21</c:v>
                </c:pt>
                <c:pt idx="106">
                  <c:v>8.IV.21</c:v>
                </c:pt>
                <c:pt idx="107">
                  <c:v>9.IV.21</c:v>
                </c:pt>
                <c:pt idx="108">
                  <c:v>10.IV.21</c:v>
                </c:pt>
                <c:pt idx="109">
                  <c:v>11.IV.21</c:v>
                </c:pt>
                <c:pt idx="110">
                  <c:v>12.IV.21</c:v>
                </c:pt>
                <c:pt idx="111">
                  <c:v>13.IV.21</c:v>
                </c:pt>
                <c:pt idx="112">
                  <c:v>14.IV.21</c:v>
                </c:pt>
                <c:pt idx="113">
                  <c:v>15.IV.21</c:v>
                </c:pt>
                <c:pt idx="114">
                  <c:v>16.IV.21</c:v>
                </c:pt>
                <c:pt idx="115">
                  <c:v>17.IV.21</c:v>
                </c:pt>
                <c:pt idx="116">
                  <c:v>18.IV.21</c:v>
                </c:pt>
                <c:pt idx="117">
                  <c:v>19.IV.21</c:v>
                </c:pt>
                <c:pt idx="118">
                  <c:v>20.IV.21</c:v>
                </c:pt>
                <c:pt idx="119">
                  <c:v>21.IV.21</c:v>
                </c:pt>
                <c:pt idx="120">
                  <c:v>22.IV.21</c:v>
                </c:pt>
                <c:pt idx="121">
                  <c:v>23.IV.21</c:v>
                </c:pt>
                <c:pt idx="122">
                  <c:v>24.IV.21</c:v>
                </c:pt>
                <c:pt idx="123">
                  <c:v>25.IV.21</c:v>
                </c:pt>
                <c:pt idx="124">
                  <c:v>26.IV.21</c:v>
                </c:pt>
                <c:pt idx="125">
                  <c:v>27.IV.21</c:v>
                </c:pt>
                <c:pt idx="126">
                  <c:v>28.IV.21</c:v>
                </c:pt>
                <c:pt idx="127">
                  <c:v>29.IV.21</c:v>
                </c:pt>
                <c:pt idx="128">
                  <c:v>30.IV.21</c:v>
                </c:pt>
                <c:pt idx="129">
                  <c:v>1.V.21</c:v>
                </c:pt>
                <c:pt idx="130">
                  <c:v>2.V.21</c:v>
                </c:pt>
                <c:pt idx="131">
                  <c:v>3.V.21</c:v>
                </c:pt>
                <c:pt idx="132">
                  <c:v>4.V.21</c:v>
                </c:pt>
                <c:pt idx="133">
                  <c:v>5.V.21</c:v>
                </c:pt>
                <c:pt idx="134">
                  <c:v>6.V.21</c:v>
                </c:pt>
                <c:pt idx="135">
                  <c:v>7.V.21</c:v>
                </c:pt>
                <c:pt idx="136">
                  <c:v>8.V.21</c:v>
                </c:pt>
                <c:pt idx="137">
                  <c:v>9.V.21</c:v>
                </c:pt>
                <c:pt idx="138">
                  <c:v>10.V.21</c:v>
                </c:pt>
                <c:pt idx="139">
                  <c:v>11.V.21</c:v>
                </c:pt>
                <c:pt idx="140">
                  <c:v>12.V.21</c:v>
                </c:pt>
                <c:pt idx="141">
                  <c:v>13.V.21</c:v>
                </c:pt>
                <c:pt idx="142">
                  <c:v>14.V.21</c:v>
                </c:pt>
                <c:pt idx="143">
                  <c:v>15.V.21</c:v>
                </c:pt>
                <c:pt idx="144">
                  <c:v>16.V.21</c:v>
                </c:pt>
                <c:pt idx="145">
                  <c:v>17.V.21</c:v>
                </c:pt>
                <c:pt idx="146">
                  <c:v>18.V.21</c:v>
                </c:pt>
                <c:pt idx="147">
                  <c:v>19.V.21</c:v>
                </c:pt>
                <c:pt idx="148">
                  <c:v>20.V.21</c:v>
                </c:pt>
                <c:pt idx="149">
                  <c:v>21.V.21</c:v>
                </c:pt>
                <c:pt idx="150">
                  <c:v>22.V.21</c:v>
                </c:pt>
                <c:pt idx="151">
                  <c:v>23.V.21</c:v>
                </c:pt>
                <c:pt idx="152">
                  <c:v>24.V.21</c:v>
                </c:pt>
                <c:pt idx="153">
                  <c:v>25.V.21</c:v>
                </c:pt>
                <c:pt idx="154">
                  <c:v>26.V.21</c:v>
                </c:pt>
                <c:pt idx="155">
                  <c:v>27.V.21</c:v>
                </c:pt>
                <c:pt idx="156">
                  <c:v>28.V.21</c:v>
                </c:pt>
                <c:pt idx="157">
                  <c:v>29.V.21</c:v>
                </c:pt>
                <c:pt idx="158">
                  <c:v>30.V.21</c:v>
                </c:pt>
                <c:pt idx="159">
                  <c:v>31.V.21</c:v>
                </c:pt>
                <c:pt idx="160">
                  <c:v>1.VI.21</c:v>
                </c:pt>
                <c:pt idx="161">
                  <c:v>2.VI.21</c:v>
                </c:pt>
                <c:pt idx="162">
                  <c:v>3.VI.21</c:v>
                </c:pt>
                <c:pt idx="163">
                  <c:v>4.VI.21</c:v>
                </c:pt>
                <c:pt idx="164">
                  <c:v>5.VI.21</c:v>
                </c:pt>
                <c:pt idx="165">
                  <c:v>6.VI.21</c:v>
                </c:pt>
                <c:pt idx="166">
                  <c:v>7.VI.21</c:v>
                </c:pt>
                <c:pt idx="167">
                  <c:v>8.VI.21</c:v>
                </c:pt>
                <c:pt idx="168">
                  <c:v>9.VI.21</c:v>
                </c:pt>
                <c:pt idx="169">
                  <c:v>10.VI.21</c:v>
                </c:pt>
                <c:pt idx="170">
                  <c:v>11.VI.21</c:v>
                </c:pt>
                <c:pt idx="171">
                  <c:v>12.VI.21</c:v>
                </c:pt>
                <c:pt idx="172">
                  <c:v>13.VI.21</c:v>
                </c:pt>
                <c:pt idx="173">
                  <c:v>14.VI.21</c:v>
                </c:pt>
                <c:pt idx="174">
                  <c:v>15.VI.21</c:v>
                </c:pt>
                <c:pt idx="175">
                  <c:v>16.VI.21</c:v>
                </c:pt>
                <c:pt idx="176">
                  <c:v>17.VI.21</c:v>
                </c:pt>
                <c:pt idx="177">
                  <c:v>18.VI.21</c:v>
                </c:pt>
                <c:pt idx="178">
                  <c:v>19.VI.21</c:v>
                </c:pt>
                <c:pt idx="179">
                  <c:v>20.VI.21</c:v>
                </c:pt>
                <c:pt idx="180">
                  <c:v>21.VI.21</c:v>
                </c:pt>
                <c:pt idx="181">
                  <c:v>22.VI.21</c:v>
                </c:pt>
                <c:pt idx="182">
                  <c:v>23.VI.21</c:v>
                </c:pt>
                <c:pt idx="183">
                  <c:v>24.VI.21</c:v>
                </c:pt>
                <c:pt idx="184">
                  <c:v>25.VI.21</c:v>
                </c:pt>
                <c:pt idx="185">
                  <c:v>26.VI.21</c:v>
                </c:pt>
                <c:pt idx="186">
                  <c:v>27.VI.21</c:v>
                </c:pt>
                <c:pt idx="187">
                  <c:v>28.VI.21</c:v>
                </c:pt>
                <c:pt idx="188">
                  <c:v>29.VI.21</c:v>
                </c:pt>
                <c:pt idx="189">
                  <c:v>30.VI.21</c:v>
                </c:pt>
                <c:pt idx="190">
                  <c:v>1.VII.21</c:v>
                </c:pt>
                <c:pt idx="191">
                  <c:v>2.VII.21</c:v>
                </c:pt>
                <c:pt idx="192">
                  <c:v>3.VII.21</c:v>
                </c:pt>
                <c:pt idx="193">
                  <c:v>4.VII.21</c:v>
                </c:pt>
                <c:pt idx="194">
                  <c:v>5.VII.21</c:v>
                </c:pt>
                <c:pt idx="195">
                  <c:v>6.VII.21</c:v>
                </c:pt>
                <c:pt idx="196">
                  <c:v>7.VII.21</c:v>
                </c:pt>
                <c:pt idx="197">
                  <c:v>8.VII.21</c:v>
                </c:pt>
                <c:pt idx="198">
                  <c:v>9.VII.21</c:v>
                </c:pt>
                <c:pt idx="199">
                  <c:v>10.VII.21</c:v>
                </c:pt>
                <c:pt idx="200">
                  <c:v>11.VII.21</c:v>
                </c:pt>
                <c:pt idx="201">
                  <c:v>12.VII.21</c:v>
                </c:pt>
                <c:pt idx="202">
                  <c:v>13.VII.21</c:v>
                </c:pt>
                <c:pt idx="203">
                  <c:v>14.VII.21</c:v>
                </c:pt>
                <c:pt idx="204">
                  <c:v>15.VII.21</c:v>
                </c:pt>
                <c:pt idx="205">
                  <c:v>16.VII.21</c:v>
                </c:pt>
                <c:pt idx="206">
                  <c:v>17.VII.21</c:v>
                </c:pt>
                <c:pt idx="207">
                  <c:v>18.VII.21</c:v>
                </c:pt>
                <c:pt idx="208">
                  <c:v>19.VII.21</c:v>
                </c:pt>
                <c:pt idx="209">
                  <c:v>20.VII.21</c:v>
                </c:pt>
                <c:pt idx="210">
                  <c:v>21.VII.21</c:v>
                </c:pt>
                <c:pt idx="211">
                  <c:v>22.VII.21</c:v>
                </c:pt>
                <c:pt idx="212">
                  <c:v>23.VII.21</c:v>
                </c:pt>
                <c:pt idx="213">
                  <c:v>24.VII.21</c:v>
                </c:pt>
                <c:pt idx="214">
                  <c:v>25.VII.21</c:v>
                </c:pt>
                <c:pt idx="215">
                  <c:v>26.VII.21</c:v>
                </c:pt>
                <c:pt idx="216">
                  <c:v>27.VII.21</c:v>
                </c:pt>
                <c:pt idx="217">
                  <c:v>28.VII.21</c:v>
                </c:pt>
                <c:pt idx="218">
                  <c:v>29.VII.21</c:v>
                </c:pt>
                <c:pt idx="219">
                  <c:v>30.VII.21</c:v>
                </c:pt>
                <c:pt idx="220">
                  <c:v>31.VII.21</c:v>
                </c:pt>
                <c:pt idx="221">
                  <c:v>1.VIII.21</c:v>
                </c:pt>
                <c:pt idx="222">
                  <c:v>2.VIII.21</c:v>
                </c:pt>
                <c:pt idx="223">
                  <c:v>3.VIII.21</c:v>
                </c:pt>
                <c:pt idx="224">
                  <c:v>4.VIII.21</c:v>
                </c:pt>
                <c:pt idx="225">
                  <c:v>5.VIII.21</c:v>
                </c:pt>
                <c:pt idx="226">
                  <c:v>6.VIII.21</c:v>
                </c:pt>
                <c:pt idx="227">
                  <c:v>7.VIII.21</c:v>
                </c:pt>
                <c:pt idx="228">
                  <c:v>8.VIII.21</c:v>
                </c:pt>
                <c:pt idx="229">
                  <c:v>9.VIII.21</c:v>
                </c:pt>
                <c:pt idx="230">
                  <c:v>10.VIII.21</c:v>
                </c:pt>
                <c:pt idx="231">
                  <c:v>11.VIII.21</c:v>
                </c:pt>
                <c:pt idx="232">
                  <c:v>12.VIII.21</c:v>
                </c:pt>
                <c:pt idx="233">
                  <c:v>13.VIII.21</c:v>
                </c:pt>
                <c:pt idx="234">
                  <c:v>14.VIII.21</c:v>
                </c:pt>
                <c:pt idx="235">
                  <c:v>15.VIII.21</c:v>
                </c:pt>
                <c:pt idx="236">
                  <c:v>16.VIII.21</c:v>
                </c:pt>
                <c:pt idx="237">
                  <c:v>17.VIII.21</c:v>
                </c:pt>
                <c:pt idx="238">
                  <c:v>18.VIII.21</c:v>
                </c:pt>
                <c:pt idx="239">
                  <c:v>19.VIII.21</c:v>
                </c:pt>
                <c:pt idx="240">
                  <c:v>20.VIII.21</c:v>
                </c:pt>
                <c:pt idx="241">
                  <c:v>21.VIII.21</c:v>
                </c:pt>
                <c:pt idx="242">
                  <c:v>22.VIII.21</c:v>
                </c:pt>
                <c:pt idx="243">
                  <c:v>23.VIII.21</c:v>
                </c:pt>
                <c:pt idx="244">
                  <c:v>24.VIII.21</c:v>
                </c:pt>
                <c:pt idx="245">
                  <c:v>25.VIII.21</c:v>
                </c:pt>
                <c:pt idx="246">
                  <c:v>26.VIII.21</c:v>
                </c:pt>
                <c:pt idx="247">
                  <c:v>27.VIII.21</c:v>
                </c:pt>
                <c:pt idx="248">
                  <c:v>28.VIII.21</c:v>
                </c:pt>
                <c:pt idx="249">
                  <c:v>29.VIII.21</c:v>
                </c:pt>
                <c:pt idx="250">
                  <c:v>30.VIII.21</c:v>
                </c:pt>
                <c:pt idx="251">
                  <c:v>31.VIII.21</c:v>
                </c:pt>
                <c:pt idx="252">
                  <c:v>1.IX.21</c:v>
                </c:pt>
                <c:pt idx="253">
                  <c:v>2.IX.21</c:v>
                </c:pt>
                <c:pt idx="254">
                  <c:v>3.IX.21</c:v>
                </c:pt>
                <c:pt idx="255">
                  <c:v>4.IX.21</c:v>
                </c:pt>
                <c:pt idx="256">
                  <c:v>5.IX.21</c:v>
                </c:pt>
                <c:pt idx="257">
                  <c:v>6.IX.21</c:v>
                </c:pt>
                <c:pt idx="258">
                  <c:v>7.IX.21</c:v>
                </c:pt>
                <c:pt idx="259">
                  <c:v>8.IX.21</c:v>
                </c:pt>
                <c:pt idx="260">
                  <c:v>9.IX.21</c:v>
                </c:pt>
                <c:pt idx="261">
                  <c:v>10.IX.21</c:v>
                </c:pt>
                <c:pt idx="262">
                  <c:v>11.IX.21</c:v>
                </c:pt>
                <c:pt idx="263">
                  <c:v>12.IX.21</c:v>
                </c:pt>
                <c:pt idx="264">
                  <c:v>13.IX.21</c:v>
                </c:pt>
                <c:pt idx="265">
                  <c:v>14.IX.21</c:v>
                </c:pt>
                <c:pt idx="266">
                  <c:v>15.IX.21</c:v>
                </c:pt>
                <c:pt idx="267">
                  <c:v>16.IX.21</c:v>
                </c:pt>
                <c:pt idx="268">
                  <c:v>17.IX.21</c:v>
                </c:pt>
                <c:pt idx="269">
                  <c:v>18.IX.21</c:v>
                </c:pt>
                <c:pt idx="270">
                  <c:v>19.IX.21</c:v>
                </c:pt>
                <c:pt idx="271">
                  <c:v>20.IX.21</c:v>
                </c:pt>
                <c:pt idx="272">
                  <c:v>21.IX.21</c:v>
                </c:pt>
                <c:pt idx="273">
                  <c:v>22.IX.21</c:v>
                </c:pt>
                <c:pt idx="274">
                  <c:v>23.IX.21</c:v>
                </c:pt>
                <c:pt idx="275">
                  <c:v>24.IX.21</c:v>
                </c:pt>
                <c:pt idx="276">
                  <c:v>25.IX.21</c:v>
                </c:pt>
                <c:pt idx="277">
                  <c:v>26.IX.21</c:v>
                </c:pt>
                <c:pt idx="278">
                  <c:v>27.IX.21</c:v>
                </c:pt>
                <c:pt idx="279">
                  <c:v>28.IX.21</c:v>
                </c:pt>
                <c:pt idx="280">
                  <c:v>29.IX.21</c:v>
                </c:pt>
                <c:pt idx="281">
                  <c:v>30.IX.21</c:v>
                </c:pt>
                <c:pt idx="282">
                  <c:v>1.X.21</c:v>
                </c:pt>
                <c:pt idx="283">
                  <c:v>2.X.21</c:v>
                </c:pt>
                <c:pt idx="284">
                  <c:v>3.X.21</c:v>
                </c:pt>
                <c:pt idx="285">
                  <c:v>4.X.21</c:v>
                </c:pt>
                <c:pt idx="286">
                  <c:v>5.X.21</c:v>
                </c:pt>
                <c:pt idx="287">
                  <c:v>6.X.21</c:v>
                </c:pt>
                <c:pt idx="288">
                  <c:v>7.X.21</c:v>
                </c:pt>
                <c:pt idx="289">
                  <c:v>8.X.21</c:v>
                </c:pt>
                <c:pt idx="290">
                  <c:v>9.X.21</c:v>
                </c:pt>
                <c:pt idx="291">
                  <c:v>10.X.21</c:v>
                </c:pt>
                <c:pt idx="292">
                  <c:v>11.X.21</c:v>
                </c:pt>
                <c:pt idx="293">
                  <c:v>12.X.21</c:v>
                </c:pt>
                <c:pt idx="294">
                  <c:v>13.X.21</c:v>
                </c:pt>
                <c:pt idx="295">
                  <c:v>14.X.21</c:v>
                </c:pt>
                <c:pt idx="296">
                  <c:v>15.X.21</c:v>
                </c:pt>
                <c:pt idx="297">
                  <c:v>16.X.21</c:v>
                </c:pt>
                <c:pt idx="298">
                  <c:v>17.X.21</c:v>
                </c:pt>
                <c:pt idx="299">
                  <c:v>18.X.21</c:v>
                </c:pt>
                <c:pt idx="300">
                  <c:v>19.X.21</c:v>
                </c:pt>
                <c:pt idx="301">
                  <c:v>20.X.21</c:v>
                </c:pt>
                <c:pt idx="302">
                  <c:v>21.X.21</c:v>
                </c:pt>
                <c:pt idx="303">
                  <c:v>22.X.21</c:v>
                </c:pt>
                <c:pt idx="304">
                  <c:v>23.X.21</c:v>
                </c:pt>
                <c:pt idx="305">
                  <c:v>24.X.21</c:v>
                </c:pt>
                <c:pt idx="306">
                  <c:v>25.X.21</c:v>
                </c:pt>
                <c:pt idx="307">
                  <c:v>26.X.21</c:v>
                </c:pt>
                <c:pt idx="308">
                  <c:v>27.X.21</c:v>
                </c:pt>
                <c:pt idx="309">
                  <c:v>28.X.21</c:v>
                </c:pt>
                <c:pt idx="310">
                  <c:v>29.X.21</c:v>
                </c:pt>
                <c:pt idx="311">
                  <c:v>30.X.21</c:v>
                </c:pt>
                <c:pt idx="312">
                  <c:v>31.X.21</c:v>
                </c:pt>
                <c:pt idx="313">
                  <c:v>1.XI.21</c:v>
                </c:pt>
                <c:pt idx="314">
                  <c:v>2.XI.21</c:v>
                </c:pt>
                <c:pt idx="315">
                  <c:v>3.XI.21</c:v>
                </c:pt>
                <c:pt idx="316">
                  <c:v>4.XI.21</c:v>
                </c:pt>
                <c:pt idx="317">
                  <c:v>5.XI.21</c:v>
                </c:pt>
                <c:pt idx="318">
                  <c:v>6.XI.21</c:v>
                </c:pt>
                <c:pt idx="319">
                  <c:v>7.XI.21</c:v>
                </c:pt>
                <c:pt idx="320">
                  <c:v>8.XI.21</c:v>
                </c:pt>
                <c:pt idx="321">
                  <c:v>9.XI.21</c:v>
                </c:pt>
                <c:pt idx="322">
                  <c:v>10.XI.21</c:v>
                </c:pt>
                <c:pt idx="323">
                  <c:v>11.XI.21</c:v>
                </c:pt>
                <c:pt idx="324">
                  <c:v>12.XI.21</c:v>
                </c:pt>
                <c:pt idx="325">
                  <c:v>13.XI.21</c:v>
                </c:pt>
                <c:pt idx="326">
                  <c:v>14.XI.21</c:v>
                </c:pt>
                <c:pt idx="327">
                  <c:v>15.XI.21</c:v>
                </c:pt>
                <c:pt idx="328">
                  <c:v>16.XI.21</c:v>
                </c:pt>
                <c:pt idx="329">
                  <c:v>17.XI.21</c:v>
                </c:pt>
                <c:pt idx="330">
                  <c:v>18.XI.21</c:v>
                </c:pt>
                <c:pt idx="331">
                  <c:v>19.XI.21</c:v>
                </c:pt>
                <c:pt idx="332">
                  <c:v>20.XI.21</c:v>
                </c:pt>
                <c:pt idx="333">
                  <c:v>21.XI.21</c:v>
                </c:pt>
                <c:pt idx="334">
                  <c:v>22.XI.21</c:v>
                </c:pt>
                <c:pt idx="335">
                  <c:v>23.XI.21</c:v>
                </c:pt>
                <c:pt idx="336">
                  <c:v>24.XI.21</c:v>
                </c:pt>
                <c:pt idx="337">
                  <c:v>25.XI.21</c:v>
                </c:pt>
                <c:pt idx="338">
                  <c:v>26.XI.21</c:v>
                </c:pt>
                <c:pt idx="339">
                  <c:v>27.XI.21</c:v>
                </c:pt>
                <c:pt idx="340">
                  <c:v>28.XI.21</c:v>
                </c:pt>
                <c:pt idx="341">
                  <c:v>29.XI.21</c:v>
                </c:pt>
                <c:pt idx="342">
                  <c:v>30.XI.21</c:v>
                </c:pt>
                <c:pt idx="343">
                  <c:v>1.XII.21</c:v>
                </c:pt>
                <c:pt idx="344">
                  <c:v>2.XII.21</c:v>
                </c:pt>
                <c:pt idx="345">
                  <c:v>3.XII.21</c:v>
                </c:pt>
                <c:pt idx="346">
                  <c:v>4.XII.21</c:v>
                </c:pt>
                <c:pt idx="347">
                  <c:v>5.XII.21</c:v>
                </c:pt>
                <c:pt idx="348">
                  <c:v>6.XII.21</c:v>
                </c:pt>
                <c:pt idx="349">
                  <c:v>7.XII.21</c:v>
                </c:pt>
                <c:pt idx="350">
                  <c:v>8.XII.21</c:v>
                </c:pt>
                <c:pt idx="351">
                  <c:v>9.XII.21</c:v>
                </c:pt>
                <c:pt idx="352">
                  <c:v>10.XII.21</c:v>
                </c:pt>
                <c:pt idx="353">
                  <c:v>11.XII.21</c:v>
                </c:pt>
                <c:pt idx="354">
                  <c:v>12.XII.21</c:v>
                </c:pt>
                <c:pt idx="355">
                  <c:v>13.XII.21</c:v>
                </c:pt>
                <c:pt idx="356">
                  <c:v>14.XII.21</c:v>
                </c:pt>
                <c:pt idx="357">
                  <c:v>15.XII.21</c:v>
                </c:pt>
                <c:pt idx="358">
                  <c:v>16.XII.21</c:v>
                </c:pt>
                <c:pt idx="359">
                  <c:v>17.XII.21</c:v>
                </c:pt>
                <c:pt idx="360">
                  <c:v>18.XII.21</c:v>
                </c:pt>
                <c:pt idx="361">
                  <c:v>19.XII.21</c:v>
                </c:pt>
                <c:pt idx="362">
                  <c:v>20.XII.21</c:v>
                </c:pt>
                <c:pt idx="363">
                  <c:v>21.XII.21</c:v>
                </c:pt>
                <c:pt idx="364">
                  <c:v>22.XII.21</c:v>
                </c:pt>
                <c:pt idx="365">
                  <c:v>23.XII.21</c:v>
                </c:pt>
                <c:pt idx="366">
                  <c:v>24.XII.21</c:v>
                </c:pt>
                <c:pt idx="367">
                  <c:v>27.XII.21</c:v>
                </c:pt>
                <c:pt idx="368">
                  <c:v>28.XII.21</c:v>
                </c:pt>
                <c:pt idx="369">
                  <c:v>29.XII.21</c:v>
                </c:pt>
                <c:pt idx="370">
                  <c:v>30.XII.21</c:v>
                </c:pt>
                <c:pt idx="371">
                  <c:v>31.XII.21</c:v>
                </c:pt>
                <c:pt idx="372">
                  <c:v>2.I.22</c:v>
                </c:pt>
                <c:pt idx="373">
                  <c:v>3.I.22</c:v>
                </c:pt>
                <c:pt idx="374">
                  <c:v>4.I.22</c:v>
                </c:pt>
                <c:pt idx="375">
                  <c:v>5.I.22</c:v>
                </c:pt>
                <c:pt idx="376">
                  <c:v>6.I.22</c:v>
                </c:pt>
                <c:pt idx="377">
                  <c:v>7.I.22</c:v>
                </c:pt>
                <c:pt idx="378">
                  <c:v>8.I.22</c:v>
                </c:pt>
                <c:pt idx="379">
                  <c:v>9.I.22</c:v>
                </c:pt>
                <c:pt idx="380">
                  <c:v>10.I.22</c:v>
                </c:pt>
                <c:pt idx="381">
                  <c:v>11.I.22</c:v>
                </c:pt>
                <c:pt idx="382">
                  <c:v>12.I.22</c:v>
                </c:pt>
                <c:pt idx="383">
                  <c:v>13.I.22</c:v>
                </c:pt>
                <c:pt idx="384">
                  <c:v>14.I.22</c:v>
                </c:pt>
                <c:pt idx="385">
                  <c:v>15.I.22</c:v>
                </c:pt>
                <c:pt idx="386">
                  <c:v>16.I.22</c:v>
                </c:pt>
                <c:pt idx="387">
                  <c:v>17.I.22</c:v>
                </c:pt>
                <c:pt idx="388">
                  <c:v>18.I.22</c:v>
                </c:pt>
                <c:pt idx="389">
                  <c:v>19.I.22</c:v>
                </c:pt>
                <c:pt idx="390">
                  <c:v>20.I.22</c:v>
                </c:pt>
                <c:pt idx="391">
                  <c:v>21.I.22</c:v>
                </c:pt>
                <c:pt idx="392">
                  <c:v>22.I.22</c:v>
                </c:pt>
                <c:pt idx="393">
                  <c:v>23.I.22</c:v>
                </c:pt>
                <c:pt idx="394">
                  <c:v>24.I.22</c:v>
                </c:pt>
                <c:pt idx="395">
                  <c:v>25.I.22</c:v>
                </c:pt>
                <c:pt idx="396">
                  <c:v>26.I.22</c:v>
                </c:pt>
                <c:pt idx="397">
                  <c:v>27.I.22</c:v>
                </c:pt>
                <c:pt idx="398">
                  <c:v>28.I.22</c:v>
                </c:pt>
                <c:pt idx="399">
                  <c:v>29.I.22</c:v>
                </c:pt>
                <c:pt idx="400">
                  <c:v>30.I.22</c:v>
                </c:pt>
                <c:pt idx="401">
                  <c:v>31.I.22</c:v>
                </c:pt>
                <c:pt idx="402">
                  <c:v>1.II.22</c:v>
                </c:pt>
                <c:pt idx="403">
                  <c:v>2.II.22</c:v>
                </c:pt>
                <c:pt idx="404">
                  <c:v>3.II.22</c:v>
                </c:pt>
                <c:pt idx="405">
                  <c:v>4.II.22</c:v>
                </c:pt>
                <c:pt idx="406">
                  <c:v>5.II.22</c:v>
                </c:pt>
                <c:pt idx="407">
                  <c:v>6.II.22</c:v>
                </c:pt>
                <c:pt idx="408">
                  <c:v>7.II.22</c:v>
                </c:pt>
                <c:pt idx="409">
                  <c:v>8.II.22</c:v>
                </c:pt>
                <c:pt idx="410">
                  <c:v>9.II.22</c:v>
                </c:pt>
                <c:pt idx="411">
                  <c:v>10.II.22</c:v>
                </c:pt>
                <c:pt idx="412">
                  <c:v>11.II.22</c:v>
                </c:pt>
                <c:pt idx="413">
                  <c:v>12.II.22</c:v>
                </c:pt>
                <c:pt idx="414">
                  <c:v>13.II.22</c:v>
                </c:pt>
                <c:pt idx="415">
                  <c:v>14.II.22</c:v>
                </c:pt>
                <c:pt idx="416">
                  <c:v>15.II.22</c:v>
                </c:pt>
                <c:pt idx="417">
                  <c:v>16.II.22</c:v>
                </c:pt>
                <c:pt idx="418">
                  <c:v>17.II.22</c:v>
                </c:pt>
                <c:pt idx="419">
                  <c:v>18.II.22</c:v>
                </c:pt>
                <c:pt idx="420">
                  <c:v>19.II.22</c:v>
                </c:pt>
              </c:strCache>
            </c:strRef>
          </c:cat>
          <c:val>
            <c:numRef>
              <c:f>List1!$E$3:$PI$3</c:f>
              <c:numCache>
                <c:formatCode>General</c:formatCode>
                <c:ptCount val="421"/>
                <c:pt idx="4">
                  <c:v>409</c:v>
                </c:pt>
                <c:pt idx="5">
                  <c:v>1121</c:v>
                </c:pt>
                <c:pt idx="6">
                  <c:v>2226</c:v>
                </c:pt>
                <c:pt idx="7">
                  <c:v>3359</c:v>
                </c:pt>
                <c:pt idx="8">
                  <c:v>3735</c:v>
                </c:pt>
                <c:pt idx="9">
                  <c:v>3854</c:v>
                </c:pt>
                <c:pt idx="10">
                  <c:v>4335</c:v>
                </c:pt>
                <c:pt idx="11">
                  <c:v>4653</c:v>
                </c:pt>
                <c:pt idx="12">
                  <c:v>5999</c:v>
                </c:pt>
                <c:pt idx="13">
                  <c:v>7642</c:v>
                </c:pt>
                <c:pt idx="14">
                  <c:v>9653</c:v>
                </c:pt>
                <c:pt idx="15">
                  <c:v>12202</c:v>
                </c:pt>
                <c:pt idx="16">
                  <c:v>15331</c:v>
                </c:pt>
                <c:pt idx="17">
                  <c:v>15777</c:v>
                </c:pt>
                <c:pt idx="18">
                  <c:v>16133</c:v>
                </c:pt>
                <c:pt idx="19">
                  <c:v>18932</c:v>
                </c:pt>
                <c:pt idx="20">
                  <c:v>22118</c:v>
                </c:pt>
                <c:pt idx="21">
                  <c:v>24984</c:v>
                </c:pt>
                <c:pt idx="22">
                  <c:v>28168</c:v>
                </c:pt>
                <c:pt idx="23">
                  <c:v>30949</c:v>
                </c:pt>
                <c:pt idx="24">
                  <c:v>31330</c:v>
                </c:pt>
                <c:pt idx="25">
                  <c:v>31557</c:v>
                </c:pt>
                <c:pt idx="26">
                  <c:v>33489</c:v>
                </c:pt>
                <c:pt idx="27">
                  <c:v>35163</c:v>
                </c:pt>
                <c:pt idx="28">
                  <c:v>36783</c:v>
                </c:pt>
                <c:pt idx="29">
                  <c:v>38316</c:v>
                </c:pt>
                <c:pt idx="30">
                  <c:v>39625</c:v>
                </c:pt>
                <c:pt idx="31">
                  <c:v>39781</c:v>
                </c:pt>
                <c:pt idx="32">
                  <c:v>39890</c:v>
                </c:pt>
                <c:pt idx="33">
                  <c:v>40534</c:v>
                </c:pt>
                <c:pt idx="34">
                  <c:v>41307</c:v>
                </c:pt>
                <c:pt idx="35">
                  <c:v>41957</c:v>
                </c:pt>
                <c:pt idx="36">
                  <c:v>42562</c:v>
                </c:pt>
                <c:pt idx="37">
                  <c:v>43126</c:v>
                </c:pt>
                <c:pt idx="38">
                  <c:v>43148</c:v>
                </c:pt>
                <c:pt idx="39">
                  <c:v>43166</c:v>
                </c:pt>
                <c:pt idx="40">
                  <c:v>43524</c:v>
                </c:pt>
                <c:pt idx="41">
                  <c:v>43866</c:v>
                </c:pt>
                <c:pt idx="42">
                  <c:v>44227</c:v>
                </c:pt>
                <c:pt idx="43">
                  <c:v>44557</c:v>
                </c:pt>
                <c:pt idx="44">
                  <c:v>44975</c:v>
                </c:pt>
                <c:pt idx="45">
                  <c:v>44997</c:v>
                </c:pt>
                <c:pt idx="46">
                  <c:v>45018</c:v>
                </c:pt>
                <c:pt idx="47">
                  <c:v>45287</c:v>
                </c:pt>
                <c:pt idx="48">
                  <c:v>45609</c:v>
                </c:pt>
                <c:pt idx="49">
                  <c:v>46012</c:v>
                </c:pt>
                <c:pt idx="50">
                  <c:v>46482</c:v>
                </c:pt>
                <c:pt idx="51">
                  <c:v>47014</c:v>
                </c:pt>
                <c:pt idx="52">
                  <c:v>47188</c:v>
                </c:pt>
                <c:pt idx="53">
                  <c:v>47242</c:v>
                </c:pt>
                <c:pt idx="54">
                  <c:v>47792</c:v>
                </c:pt>
                <c:pt idx="55">
                  <c:v>48280</c:v>
                </c:pt>
                <c:pt idx="56">
                  <c:v>48847</c:v>
                </c:pt>
                <c:pt idx="57">
                  <c:v>49516</c:v>
                </c:pt>
                <c:pt idx="58">
                  <c:v>50273</c:v>
                </c:pt>
                <c:pt idx="59">
                  <c:v>50403</c:v>
                </c:pt>
                <c:pt idx="60">
                  <c:v>50462</c:v>
                </c:pt>
                <c:pt idx="61">
                  <c:v>51059</c:v>
                </c:pt>
                <c:pt idx="62">
                  <c:v>51874</c:v>
                </c:pt>
                <c:pt idx="63">
                  <c:v>52696</c:v>
                </c:pt>
                <c:pt idx="64">
                  <c:v>53920</c:v>
                </c:pt>
                <c:pt idx="65">
                  <c:v>54906</c:v>
                </c:pt>
                <c:pt idx="66">
                  <c:v>54981</c:v>
                </c:pt>
                <c:pt idx="67">
                  <c:v>55029</c:v>
                </c:pt>
                <c:pt idx="68">
                  <c:v>55917</c:v>
                </c:pt>
                <c:pt idx="69">
                  <c:v>56868</c:v>
                </c:pt>
                <c:pt idx="70">
                  <c:v>57863</c:v>
                </c:pt>
                <c:pt idx="71">
                  <c:v>58773</c:v>
                </c:pt>
                <c:pt idx="72">
                  <c:v>59961</c:v>
                </c:pt>
                <c:pt idx="73">
                  <c:v>60211</c:v>
                </c:pt>
                <c:pt idx="74">
                  <c:v>60402</c:v>
                </c:pt>
                <c:pt idx="75">
                  <c:v>61180</c:v>
                </c:pt>
                <c:pt idx="76">
                  <c:v>62107</c:v>
                </c:pt>
                <c:pt idx="77">
                  <c:v>63055</c:v>
                </c:pt>
                <c:pt idx="78">
                  <c:v>64382</c:v>
                </c:pt>
                <c:pt idx="79">
                  <c:v>65487</c:v>
                </c:pt>
                <c:pt idx="80">
                  <c:v>65723</c:v>
                </c:pt>
                <c:pt idx="81">
                  <c:v>65965</c:v>
                </c:pt>
                <c:pt idx="82">
                  <c:v>66663</c:v>
                </c:pt>
                <c:pt idx="83">
                  <c:v>67701</c:v>
                </c:pt>
                <c:pt idx="84">
                  <c:v>68719</c:v>
                </c:pt>
                <c:pt idx="85">
                  <c:v>69613</c:v>
                </c:pt>
                <c:pt idx="86">
                  <c:v>70586</c:v>
                </c:pt>
                <c:pt idx="87">
                  <c:v>70946</c:v>
                </c:pt>
                <c:pt idx="88">
                  <c:v>71118</c:v>
                </c:pt>
                <c:pt idx="89">
                  <c:v>71650</c:v>
                </c:pt>
                <c:pt idx="90">
                  <c:v>72201</c:v>
                </c:pt>
                <c:pt idx="91">
                  <c:v>72707</c:v>
                </c:pt>
                <c:pt idx="92">
                  <c:v>73262</c:v>
                </c:pt>
                <c:pt idx="93">
                  <c:v>73843</c:v>
                </c:pt>
                <c:pt idx="94">
                  <c:v>73994</c:v>
                </c:pt>
                <c:pt idx="95">
                  <c:v>74161</c:v>
                </c:pt>
                <c:pt idx="96">
                  <c:v>74509</c:v>
                </c:pt>
                <c:pt idx="97">
                  <c:v>74955</c:v>
                </c:pt>
                <c:pt idx="98">
                  <c:v>75423</c:v>
                </c:pt>
                <c:pt idx="99">
                  <c:v>75877</c:v>
                </c:pt>
                <c:pt idx="100">
                  <c:v>75981</c:v>
                </c:pt>
                <c:pt idx="101">
                  <c:v>76023</c:v>
                </c:pt>
                <c:pt idx="102">
                  <c:v>76072</c:v>
                </c:pt>
                <c:pt idx="103">
                  <c:v>76108</c:v>
                </c:pt>
                <c:pt idx="104">
                  <c:v>76354</c:v>
                </c:pt>
                <c:pt idx="105">
                  <c:v>76671</c:v>
                </c:pt>
                <c:pt idx="106">
                  <c:v>77208</c:v>
                </c:pt>
                <c:pt idx="107">
                  <c:v>77782</c:v>
                </c:pt>
                <c:pt idx="108">
                  <c:v>77941</c:v>
                </c:pt>
                <c:pt idx="109">
                  <c:v>78042</c:v>
                </c:pt>
                <c:pt idx="110">
                  <c:v>78469</c:v>
                </c:pt>
                <c:pt idx="111">
                  <c:v>78848</c:v>
                </c:pt>
                <c:pt idx="112">
                  <c:v>79302</c:v>
                </c:pt>
                <c:pt idx="113">
                  <c:v>79962</c:v>
                </c:pt>
                <c:pt idx="114">
                  <c:v>80687</c:v>
                </c:pt>
                <c:pt idx="115">
                  <c:v>80891</c:v>
                </c:pt>
                <c:pt idx="116">
                  <c:v>81083</c:v>
                </c:pt>
                <c:pt idx="117">
                  <c:v>81605</c:v>
                </c:pt>
                <c:pt idx="118">
                  <c:v>82108</c:v>
                </c:pt>
                <c:pt idx="119">
                  <c:v>82766</c:v>
                </c:pt>
                <c:pt idx="120">
                  <c:v>83491</c:v>
                </c:pt>
                <c:pt idx="121">
                  <c:v>84201</c:v>
                </c:pt>
                <c:pt idx="122">
                  <c:v>84401</c:v>
                </c:pt>
                <c:pt idx="123">
                  <c:v>84589</c:v>
                </c:pt>
                <c:pt idx="124">
                  <c:v>85193</c:v>
                </c:pt>
                <c:pt idx="125">
                  <c:v>85740</c:v>
                </c:pt>
                <c:pt idx="126">
                  <c:v>86442</c:v>
                </c:pt>
                <c:pt idx="127">
                  <c:v>87199</c:v>
                </c:pt>
                <c:pt idx="128">
                  <c:v>87846</c:v>
                </c:pt>
                <c:pt idx="129">
                  <c:v>88000</c:v>
                </c:pt>
                <c:pt idx="130">
                  <c:v>88153</c:v>
                </c:pt>
                <c:pt idx="131">
                  <c:v>88661</c:v>
                </c:pt>
                <c:pt idx="132">
                  <c:v>89183</c:v>
                </c:pt>
                <c:pt idx="133">
                  <c:v>89707</c:v>
                </c:pt>
                <c:pt idx="134">
                  <c:v>90255</c:v>
                </c:pt>
                <c:pt idx="135">
                  <c:v>90826</c:v>
                </c:pt>
                <c:pt idx="136">
                  <c:v>91044</c:v>
                </c:pt>
                <c:pt idx="137">
                  <c:v>91151</c:v>
                </c:pt>
                <c:pt idx="138">
                  <c:v>91549</c:v>
                </c:pt>
                <c:pt idx="139">
                  <c:v>92028</c:v>
                </c:pt>
                <c:pt idx="140">
                  <c:v>92461</c:v>
                </c:pt>
                <c:pt idx="141">
                  <c:v>92896</c:v>
                </c:pt>
                <c:pt idx="142">
                  <c:v>93263</c:v>
                </c:pt>
                <c:pt idx="143">
                  <c:v>93425</c:v>
                </c:pt>
                <c:pt idx="144">
                  <c:v>93529</c:v>
                </c:pt>
                <c:pt idx="145">
                  <c:v>93845</c:v>
                </c:pt>
                <c:pt idx="146">
                  <c:v>94218</c:v>
                </c:pt>
                <c:pt idx="147">
                  <c:v>94579</c:v>
                </c:pt>
                <c:pt idx="148">
                  <c:v>94971</c:v>
                </c:pt>
                <c:pt idx="149">
                  <c:v>95336</c:v>
                </c:pt>
                <c:pt idx="150">
                  <c:v>95480</c:v>
                </c:pt>
                <c:pt idx="151">
                  <c:v>95578</c:v>
                </c:pt>
                <c:pt idx="152">
                  <c:v>95793</c:v>
                </c:pt>
                <c:pt idx="153">
                  <c:v>96031</c:v>
                </c:pt>
                <c:pt idx="154">
                  <c:v>96381</c:v>
                </c:pt>
                <c:pt idx="155">
                  <c:v>96708</c:v>
                </c:pt>
                <c:pt idx="156">
                  <c:v>96993</c:v>
                </c:pt>
                <c:pt idx="157">
                  <c:v>97136</c:v>
                </c:pt>
                <c:pt idx="158">
                  <c:v>97225</c:v>
                </c:pt>
                <c:pt idx="159">
                  <c:v>97502</c:v>
                </c:pt>
                <c:pt idx="160">
                  <c:v>97773</c:v>
                </c:pt>
                <c:pt idx="161">
                  <c:v>98117</c:v>
                </c:pt>
                <c:pt idx="162">
                  <c:v>98470</c:v>
                </c:pt>
                <c:pt idx="163">
                  <c:v>98796</c:v>
                </c:pt>
                <c:pt idx="164">
                  <c:v>98932</c:v>
                </c:pt>
                <c:pt idx="165">
                  <c:v>99061</c:v>
                </c:pt>
                <c:pt idx="166">
                  <c:v>99399</c:v>
                </c:pt>
                <c:pt idx="167">
                  <c:v>99739</c:v>
                </c:pt>
                <c:pt idx="168">
                  <c:v>100089</c:v>
                </c:pt>
                <c:pt idx="169">
                  <c:v>100451</c:v>
                </c:pt>
                <c:pt idx="170">
                  <c:v>100751</c:v>
                </c:pt>
                <c:pt idx="171">
                  <c:v>100959</c:v>
                </c:pt>
                <c:pt idx="172">
                  <c:v>101076</c:v>
                </c:pt>
                <c:pt idx="173">
                  <c:v>101320</c:v>
                </c:pt>
                <c:pt idx="174">
                  <c:v>101594</c:v>
                </c:pt>
                <c:pt idx="175">
                  <c:v>101835</c:v>
                </c:pt>
                <c:pt idx="176">
                  <c:v>102105</c:v>
                </c:pt>
                <c:pt idx="177">
                  <c:v>102322</c:v>
                </c:pt>
                <c:pt idx="178">
                  <c:v>102440</c:v>
                </c:pt>
                <c:pt idx="179">
                  <c:v>102534</c:v>
                </c:pt>
                <c:pt idx="180">
                  <c:v>102712</c:v>
                </c:pt>
                <c:pt idx="181">
                  <c:v>102933</c:v>
                </c:pt>
                <c:pt idx="182">
                  <c:v>103121</c:v>
                </c:pt>
                <c:pt idx="183">
                  <c:v>103282</c:v>
                </c:pt>
                <c:pt idx="184">
                  <c:v>103468</c:v>
                </c:pt>
                <c:pt idx="185">
                  <c:v>103559</c:v>
                </c:pt>
                <c:pt idx="186">
                  <c:v>103627</c:v>
                </c:pt>
                <c:pt idx="187">
                  <c:v>103808</c:v>
                </c:pt>
                <c:pt idx="188">
                  <c:v>103976</c:v>
                </c:pt>
                <c:pt idx="189">
                  <c:v>104157</c:v>
                </c:pt>
                <c:pt idx="190">
                  <c:v>104297</c:v>
                </c:pt>
                <c:pt idx="191">
                  <c:v>104489</c:v>
                </c:pt>
                <c:pt idx="192">
                  <c:v>104524</c:v>
                </c:pt>
                <c:pt idx="193">
                  <c:v>104569</c:v>
                </c:pt>
                <c:pt idx="194">
                  <c:v>104618</c:v>
                </c:pt>
                <c:pt idx="195">
                  <c:v>104650</c:v>
                </c:pt>
                <c:pt idx="196">
                  <c:v>104814</c:v>
                </c:pt>
                <c:pt idx="197">
                  <c:v>104992</c:v>
                </c:pt>
                <c:pt idx="198">
                  <c:v>105165</c:v>
                </c:pt>
                <c:pt idx="199">
                  <c:v>105225</c:v>
                </c:pt>
                <c:pt idx="200">
                  <c:v>105274</c:v>
                </c:pt>
                <c:pt idx="201">
                  <c:v>105435</c:v>
                </c:pt>
                <c:pt idx="202">
                  <c:v>105620</c:v>
                </c:pt>
                <c:pt idx="203">
                  <c:v>105823</c:v>
                </c:pt>
                <c:pt idx="204">
                  <c:v>106014</c:v>
                </c:pt>
                <c:pt idx="205">
                  <c:v>106197</c:v>
                </c:pt>
                <c:pt idx="206">
                  <c:v>106247</c:v>
                </c:pt>
                <c:pt idx="207">
                  <c:v>106305</c:v>
                </c:pt>
                <c:pt idx="208">
                  <c:v>106475</c:v>
                </c:pt>
                <c:pt idx="209">
                  <c:v>106624</c:v>
                </c:pt>
                <c:pt idx="210">
                  <c:v>106803</c:v>
                </c:pt>
                <c:pt idx="211">
                  <c:v>106981</c:v>
                </c:pt>
                <c:pt idx="212">
                  <c:v>107128</c:v>
                </c:pt>
                <c:pt idx="213">
                  <c:v>107171</c:v>
                </c:pt>
                <c:pt idx="214">
                  <c:v>107197</c:v>
                </c:pt>
                <c:pt idx="215">
                  <c:v>107365</c:v>
                </c:pt>
                <c:pt idx="216">
                  <c:v>107535</c:v>
                </c:pt>
                <c:pt idx="217">
                  <c:v>107687</c:v>
                </c:pt>
                <c:pt idx="218">
                  <c:v>107836</c:v>
                </c:pt>
                <c:pt idx="219">
                  <c:v>108001</c:v>
                </c:pt>
                <c:pt idx="220">
                  <c:v>108040</c:v>
                </c:pt>
                <c:pt idx="221">
                  <c:v>108080</c:v>
                </c:pt>
                <c:pt idx="222">
                  <c:v>108179</c:v>
                </c:pt>
                <c:pt idx="223">
                  <c:v>108291</c:v>
                </c:pt>
                <c:pt idx="224">
                  <c:v>108420</c:v>
                </c:pt>
                <c:pt idx="225">
                  <c:v>108529</c:v>
                </c:pt>
                <c:pt idx="226">
                  <c:v>108648</c:v>
                </c:pt>
                <c:pt idx="227">
                  <c:v>108670</c:v>
                </c:pt>
                <c:pt idx="228">
                  <c:v>108695</c:v>
                </c:pt>
                <c:pt idx="229">
                  <c:v>108780</c:v>
                </c:pt>
                <c:pt idx="230">
                  <c:v>108859</c:v>
                </c:pt>
                <c:pt idx="231">
                  <c:v>108929</c:v>
                </c:pt>
                <c:pt idx="232">
                  <c:v>109035</c:v>
                </c:pt>
                <c:pt idx="233">
                  <c:v>109098</c:v>
                </c:pt>
                <c:pt idx="234">
                  <c:v>109119</c:v>
                </c:pt>
                <c:pt idx="235">
                  <c:v>109141</c:v>
                </c:pt>
                <c:pt idx="236">
                  <c:v>109224</c:v>
                </c:pt>
                <c:pt idx="237">
                  <c:v>109303</c:v>
                </c:pt>
                <c:pt idx="238">
                  <c:v>109365</c:v>
                </c:pt>
                <c:pt idx="239">
                  <c:v>109435</c:v>
                </c:pt>
                <c:pt idx="240">
                  <c:v>109550</c:v>
                </c:pt>
                <c:pt idx="241">
                  <c:v>109564</c:v>
                </c:pt>
                <c:pt idx="242">
                  <c:v>109575</c:v>
                </c:pt>
                <c:pt idx="243">
                  <c:v>109670</c:v>
                </c:pt>
                <c:pt idx="244">
                  <c:v>109758</c:v>
                </c:pt>
                <c:pt idx="245">
                  <c:v>109824</c:v>
                </c:pt>
                <c:pt idx="246">
                  <c:v>109896</c:v>
                </c:pt>
                <c:pt idx="247">
                  <c:v>109984</c:v>
                </c:pt>
                <c:pt idx="248">
                  <c:v>110000</c:v>
                </c:pt>
                <c:pt idx="249">
                  <c:v>110016</c:v>
                </c:pt>
                <c:pt idx="250">
                  <c:v>110088</c:v>
                </c:pt>
                <c:pt idx="251">
                  <c:v>110149</c:v>
                </c:pt>
                <c:pt idx="252">
                  <c:v>110205</c:v>
                </c:pt>
                <c:pt idx="253">
                  <c:v>110279</c:v>
                </c:pt>
                <c:pt idx="254">
                  <c:v>110355</c:v>
                </c:pt>
                <c:pt idx="255">
                  <c:v>110367</c:v>
                </c:pt>
                <c:pt idx="256">
                  <c:v>110377</c:v>
                </c:pt>
                <c:pt idx="257">
                  <c:v>110436</c:v>
                </c:pt>
                <c:pt idx="258">
                  <c:v>110478</c:v>
                </c:pt>
                <c:pt idx="259">
                  <c:v>110529</c:v>
                </c:pt>
                <c:pt idx="260">
                  <c:v>110585</c:v>
                </c:pt>
                <c:pt idx="261">
                  <c:v>110636</c:v>
                </c:pt>
                <c:pt idx="262">
                  <c:v>110653</c:v>
                </c:pt>
                <c:pt idx="263">
                  <c:v>110660</c:v>
                </c:pt>
                <c:pt idx="264">
                  <c:v>110704</c:v>
                </c:pt>
                <c:pt idx="265">
                  <c:v>110767</c:v>
                </c:pt>
                <c:pt idx="266">
                  <c:v>110816</c:v>
                </c:pt>
                <c:pt idx="267">
                  <c:v>110873</c:v>
                </c:pt>
                <c:pt idx="268">
                  <c:v>110940</c:v>
                </c:pt>
                <c:pt idx="269">
                  <c:v>110957</c:v>
                </c:pt>
                <c:pt idx="270">
                  <c:v>110964</c:v>
                </c:pt>
                <c:pt idx="271">
                  <c:v>111002</c:v>
                </c:pt>
                <c:pt idx="272">
                  <c:v>111051</c:v>
                </c:pt>
                <c:pt idx="273">
                  <c:v>111094</c:v>
                </c:pt>
                <c:pt idx="274">
                  <c:v>111147</c:v>
                </c:pt>
                <c:pt idx="275">
                  <c:v>111219</c:v>
                </c:pt>
                <c:pt idx="276">
                  <c:v>111229</c:v>
                </c:pt>
                <c:pt idx="277">
                  <c:v>111233</c:v>
                </c:pt>
                <c:pt idx="278">
                  <c:v>111276</c:v>
                </c:pt>
                <c:pt idx="279">
                  <c:v>111278</c:v>
                </c:pt>
                <c:pt idx="280">
                  <c:v>111319</c:v>
                </c:pt>
                <c:pt idx="281">
                  <c:v>111358</c:v>
                </c:pt>
                <c:pt idx="282">
                  <c:v>111392</c:v>
                </c:pt>
                <c:pt idx="283">
                  <c:v>111399</c:v>
                </c:pt>
                <c:pt idx="284">
                  <c:v>111406</c:v>
                </c:pt>
                <c:pt idx="285">
                  <c:v>111434</c:v>
                </c:pt>
                <c:pt idx="286">
                  <c:v>111481</c:v>
                </c:pt>
                <c:pt idx="287">
                  <c:v>111530</c:v>
                </c:pt>
                <c:pt idx="288">
                  <c:v>111558</c:v>
                </c:pt>
                <c:pt idx="289">
                  <c:v>111608</c:v>
                </c:pt>
                <c:pt idx="290">
                  <c:v>111618</c:v>
                </c:pt>
                <c:pt idx="291">
                  <c:v>111623</c:v>
                </c:pt>
                <c:pt idx="292">
                  <c:v>111653</c:v>
                </c:pt>
                <c:pt idx="293">
                  <c:v>111674</c:v>
                </c:pt>
                <c:pt idx="294">
                  <c:v>111711</c:v>
                </c:pt>
                <c:pt idx="295">
                  <c:v>111741</c:v>
                </c:pt>
                <c:pt idx="296">
                  <c:v>111787</c:v>
                </c:pt>
                <c:pt idx="297">
                  <c:v>111799</c:v>
                </c:pt>
                <c:pt idx="298">
                  <c:v>111816</c:v>
                </c:pt>
                <c:pt idx="299">
                  <c:v>111868</c:v>
                </c:pt>
                <c:pt idx="300">
                  <c:v>111924</c:v>
                </c:pt>
                <c:pt idx="301">
                  <c:v>111982</c:v>
                </c:pt>
                <c:pt idx="302">
                  <c:v>112096</c:v>
                </c:pt>
                <c:pt idx="303">
                  <c:v>112220</c:v>
                </c:pt>
                <c:pt idx="304">
                  <c:v>112246</c:v>
                </c:pt>
                <c:pt idx="305">
                  <c:v>112270</c:v>
                </c:pt>
                <c:pt idx="306">
                  <c:v>112394</c:v>
                </c:pt>
                <c:pt idx="307">
                  <c:v>112562</c:v>
                </c:pt>
                <c:pt idx="308">
                  <c:v>112764</c:v>
                </c:pt>
                <c:pt idx="309">
                  <c:v>112801</c:v>
                </c:pt>
                <c:pt idx="310">
                  <c:v>112965</c:v>
                </c:pt>
                <c:pt idx="311">
                  <c:v>113011</c:v>
                </c:pt>
                <c:pt idx="312">
                  <c:v>113043</c:v>
                </c:pt>
                <c:pt idx="313">
                  <c:v>113211</c:v>
                </c:pt>
                <c:pt idx="314">
                  <c:v>113412</c:v>
                </c:pt>
                <c:pt idx="315">
                  <c:v>113602</c:v>
                </c:pt>
                <c:pt idx="316">
                  <c:v>113835</c:v>
                </c:pt>
                <c:pt idx="317">
                  <c:v>114084</c:v>
                </c:pt>
                <c:pt idx="318">
                  <c:v>114142</c:v>
                </c:pt>
                <c:pt idx="319">
                  <c:v>114180</c:v>
                </c:pt>
                <c:pt idx="320">
                  <c:v>114365</c:v>
                </c:pt>
                <c:pt idx="321">
                  <c:v>114520</c:v>
                </c:pt>
                <c:pt idx="322">
                  <c:v>114708</c:v>
                </c:pt>
                <c:pt idx="323">
                  <c:v>114885</c:v>
                </c:pt>
                <c:pt idx="324">
                  <c:v>115090</c:v>
                </c:pt>
                <c:pt idx="325">
                  <c:v>115149</c:v>
                </c:pt>
                <c:pt idx="326">
                  <c:v>115188</c:v>
                </c:pt>
                <c:pt idx="327">
                  <c:v>115378</c:v>
                </c:pt>
                <c:pt idx="328">
                  <c:v>115581</c:v>
                </c:pt>
                <c:pt idx="329">
                  <c:v>115631</c:v>
                </c:pt>
                <c:pt idx="330">
                  <c:v>115855</c:v>
                </c:pt>
                <c:pt idx="331">
                  <c:v>116132</c:v>
                </c:pt>
                <c:pt idx="332">
                  <c:v>116223</c:v>
                </c:pt>
                <c:pt idx="333">
                  <c:v>116290</c:v>
                </c:pt>
                <c:pt idx="334">
                  <c:v>116476</c:v>
                </c:pt>
                <c:pt idx="335">
                  <c:v>116655</c:v>
                </c:pt>
                <c:pt idx="336">
                  <c:v>116880</c:v>
                </c:pt>
                <c:pt idx="337">
                  <c:v>117095</c:v>
                </c:pt>
                <c:pt idx="338">
                  <c:v>117331</c:v>
                </c:pt>
                <c:pt idx="339">
                  <c:v>117393</c:v>
                </c:pt>
                <c:pt idx="340">
                  <c:v>117416</c:v>
                </c:pt>
                <c:pt idx="341">
                  <c:v>117566</c:v>
                </c:pt>
                <c:pt idx="342">
                  <c:v>117726</c:v>
                </c:pt>
                <c:pt idx="343">
                  <c:v>117881</c:v>
                </c:pt>
                <c:pt idx="344">
                  <c:v>117996</c:v>
                </c:pt>
                <c:pt idx="345">
                  <c:v>118110</c:v>
                </c:pt>
                <c:pt idx="346">
                  <c:v>118137</c:v>
                </c:pt>
                <c:pt idx="347">
                  <c:v>118148</c:v>
                </c:pt>
                <c:pt idx="348">
                  <c:v>118248</c:v>
                </c:pt>
                <c:pt idx="349">
                  <c:v>118333</c:v>
                </c:pt>
                <c:pt idx="350">
                  <c:v>118430</c:v>
                </c:pt>
                <c:pt idx="351">
                  <c:v>118505</c:v>
                </c:pt>
                <c:pt idx="352">
                  <c:v>118587</c:v>
                </c:pt>
                <c:pt idx="353">
                  <c:v>118601</c:v>
                </c:pt>
                <c:pt idx="354">
                  <c:v>118612</c:v>
                </c:pt>
                <c:pt idx="355">
                  <c:v>118698</c:v>
                </c:pt>
                <c:pt idx="356">
                  <c:v>118760</c:v>
                </c:pt>
                <c:pt idx="357">
                  <c:v>118840</c:v>
                </c:pt>
                <c:pt idx="358">
                  <c:v>118921</c:v>
                </c:pt>
                <c:pt idx="359">
                  <c:v>119005</c:v>
                </c:pt>
                <c:pt idx="360">
                  <c:v>119030</c:v>
                </c:pt>
                <c:pt idx="361">
                  <c:v>119034</c:v>
                </c:pt>
                <c:pt idx="362">
                  <c:v>119092</c:v>
                </c:pt>
                <c:pt idx="363">
                  <c:v>119132</c:v>
                </c:pt>
                <c:pt idx="364">
                  <c:v>119171</c:v>
                </c:pt>
                <c:pt idx="365">
                  <c:v>119191</c:v>
                </c:pt>
                <c:pt idx="366">
                  <c:v>119191</c:v>
                </c:pt>
                <c:pt idx="367">
                  <c:v>119218</c:v>
                </c:pt>
                <c:pt idx="368">
                  <c:v>119253</c:v>
                </c:pt>
                <c:pt idx="369">
                  <c:v>119292</c:v>
                </c:pt>
                <c:pt idx="370">
                  <c:v>119325</c:v>
                </c:pt>
                <c:pt idx="371">
                  <c:v>119328</c:v>
                </c:pt>
                <c:pt idx="372">
                  <c:v>119331</c:v>
                </c:pt>
                <c:pt idx="373">
                  <c:v>119377</c:v>
                </c:pt>
                <c:pt idx="374">
                  <c:v>119409</c:v>
                </c:pt>
                <c:pt idx="375">
                  <c:v>119468</c:v>
                </c:pt>
                <c:pt idx="376">
                  <c:v>119523</c:v>
                </c:pt>
                <c:pt idx="377">
                  <c:v>119609</c:v>
                </c:pt>
                <c:pt idx="378">
                  <c:v>119617</c:v>
                </c:pt>
                <c:pt idx="379">
                  <c:v>119621</c:v>
                </c:pt>
                <c:pt idx="380">
                  <c:v>119661</c:v>
                </c:pt>
                <c:pt idx="381">
                  <c:v>119711</c:v>
                </c:pt>
                <c:pt idx="382">
                  <c:v>119759</c:v>
                </c:pt>
                <c:pt idx="383">
                  <c:v>119818</c:v>
                </c:pt>
                <c:pt idx="384">
                  <c:v>119902</c:v>
                </c:pt>
                <c:pt idx="385">
                  <c:v>119916</c:v>
                </c:pt>
                <c:pt idx="386">
                  <c:v>119922</c:v>
                </c:pt>
                <c:pt idx="387">
                  <c:v>119968</c:v>
                </c:pt>
                <c:pt idx="388">
                  <c:v>120017</c:v>
                </c:pt>
                <c:pt idx="389">
                  <c:v>120056</c:v>
                </c:pt>
                <c:pt idx="390">
                  <c:v>120085</c:v>
                </c:pt>
                <c:pt idx="391">
                  <c:v>120123</c:v>
                </c:pt>
                <c:pt idx="392">
                  <c:v>120126</c:v>
                </c:pt>
                <c:pt idx="393">
                  <c:v>120129</c:v>
                </c:pt>
                <c:pt idx="394">
                  <c:v>120144</c:v>
                </c:pt>
                <c:pt idx="395">
                  <c:v>120161</c:v>
                </c:pt>
                <c:pt idx="396">
                  <c:v>120177</c:v>
                </c:pt>
                <c:pt idx="397">
                  <c:v>120195</c:v>
                </c:pt>
                <c:pt idx="398">
                  <c:v>120224</c:v>
                </c:pt>
                <c:pt idx="399">
                  <c:v>120231</c:v>
                </c:pt>
                <c:pt idx="400">
                  <c:v>120232</c:v>
                </c:pt>
                <c:pt idx="401">
                  <c:v>120244</c:v>
                </c:pt>
                <c:pt idx="402">
                  <c:v>120253</c:v>
                </c:pt>
                <c:pt idx="403">
                  <c:v>120264</c:v>
                </c:pt>
                <c:pt idx="404">
                  <c:v>120274</c:v>
                </c:pt>
                <c:pt idx="405">
                  <c:v>120290</c:v>
                </c:pt>
                <c:pt idx="406">
                  <c:v>120291</c:v>
                </c:pt>
                <c:pt idx="407">
                  <c:v>120291</c:v>
                </c:pt>
                <c:pt idx="408">
                  <c:v>120297</c:v>
                </c:pt>
                <c:pt idx="409">
                  <c:v>120300</c:v>
                </c:pt>
                <c:pt idx="410">
                  <c:v>120303</c:v>
                </c:pt>
                <c:pt idx="411">
                  <c:v>120310</c:v>
                </c:pt>
                <c:pt idx="412">
                  <c:v>120316</c:v>
                </c:pt>
                <c:pt idx="413">
                  <c:v>120316</c:v>
                </c:pt>
                <c:pt idx="414">
                  <c:v>120316</c:v>
                </c:pt>
                <c:pt idx="415">
                  <c:v>120320</c:v>
                </c:pt>
                <c:pt idx="416">
                  <c:v>120324</c:v>
                </c:pt>
                <c:pt idx="417">
                  <c:v>120326</c:v>
                </c:pt>
                <c:pt idx="418">
                  <c:v>120329</c:v>
                </c:pt>
                <c:pt idx="419">
                  <c:v>120331</c:v>
                </c:pt>
                <c:pt idx="420">
                  <c:v>120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E$1:$PI$1</c:f>
              <c:strCache>
                <c:ptCount val="421"/>
                <c:pt idx="0">
                  <c:v>23-XII.20</c:v>
                </c:pt>
                <c:pt idx="1">
                  <c:v>24-XII.20</c:v>
                </c:pt>
                <c:pt idx="2">
                  <c:v>25-XII.20</c:v>
                </c:pt>
                <c:pt idx="3">
                  <c:v>26-XII.20</c:v>
                </c:pt>
                <c:pt idx="4">
                  <c:v>27.XII.20</c:v>
                </c:pt>
                <c:pt idx="5">
                  <c:v>28.XII.20</c:v>
                </c:pt>
                <c:pt idx="6">
                  <c:v>29.XII.20</c:v>
                </c:pt>
                <c:pt idx="7">
                  <c:v>30.XII.20</c:v>
                </c:pt>
                <c:pt idx="8">
                  <c:v>31.XII.20</c:v>
                </c:pt>
                <c:pt idx="9">
                  <c:v>1.I.21</c:v>
                </c:pt>
                <c:pt idx="10">
                  <c:v>2.I.21</c:v>
                </c:pt>
                <c:pt idx="11">
                  <c:v>3.I.21</c:v>
                </c:pt>
                <c:pt idx="12">
                  <c:v>4.I.21</c:v>
                </c:pt>
                <c:pt idx="13">
                  <c:v>5.I.21</c:v>
                </c:pt>
                <c:pt idx="14">
                  <c:v>6.I.21</c:v>
                </c:pt>
                <c:pt idx="15">
                  <c:v>7.I.21</c:v>
                </c:pt>
                <c:pt idx="16">
                  <c:v>8.I.21</c:v>
                </c:pt>
                <c:pt idx="17">
                  <c:v>9.I.21</c:v>
                </c:pt>
                <c:pt idx="18">
                  <c:v>10.I.21</c:v>
                </c:pt>
                <c:pt idx="19">
                  <c:v>11.I.21</c:v>
                </c:pt>
                <c:pt idx="20">
                  <c:v>12.I.21</c:v>
                </c:pt>
                <c:pt idx="21">
                  <c:v>13.I.21</c:v>
                </c:pt>
                <c:pt idx="22">
                  <c:v>14.I.21</c:v>
                </c:pt>
                <c:pt idx="23">
                  <c:v>15.I.21</c:v>
                </c:pt>
                <c:pt idx="24">
                  <c:v>16.I.21</c:v>
                </c:pt>
                <c:pt idx="25">
                  <c:v>17.I.21</c:v>
                </c:pt>
                <c:pt idx="26">
                  <c:v>18.I.21</c:v>
                </c:pt>
                <c:pt idx="27">
                  <c:v>19.I.21</c:v>
                </c:pt>
                <c:pt idx="28">
                  <c:v>20.I.21</c:v>
                </c:pt>
                <c:pt idx="29">
                  <c:v>21.I.21</c:v>
                </c:pt>
                <c:pt idx="30">
                  <c:v>22.I.21</c:v>
                </c:pt>
                <c:pt idx="31">
                  <c:v>23.I.21</c:v>
                </c:pt>
                <c:pt idx="32">
                  <c:v>24.I.21</c:v>
                </c:pt>
                <c:pt idx="33">
                  <c:v>25.I.21</c:v>
                </c:pt>
                <c:pt idx="34">
                  <c:v>26.I.21</c:v>
                </c:pt>
                <c:pt idx="35">
                  <c:v>27.I.21</c:v>
                </c:pt>
                <c:pt idx="36">
                  <c:v>28.I.21</c:v>
                </c:pt>
                <c:pt idx="37">
                  <c:v>29.I.21</c:v>
                </c:pt>
                <c:pt idx="38">
                  <c:v>30.I.21</c:v>
                </c:pt>
                <c:pt idx="39">
                  <c:v>31.I.21</c:v>
                </c:pt>
                <c:pt idx="40">
                  <c:v>1.II.21</c:v>
                </c:pt>
                <c:pt idx="41">
                  <c:v>2.II.21</c:v>
                </c:pt>
                <c:pt idx="42">
                  <c:v>3.II.21</c:v>
                </c:pt>
                <c:pt idx="43">
                  <c:v>4.II.21</c:v>
                </c:pt>
                <c:pt idx="44">
                  <c:v>5.II.21</c:v>
                </c:pt>
                <c:pt idx="45">
                  <c:v>6.II.21</c:v>
                </c:pt>
                <c:pt idx="46">
                  <c:v>7.II.21</c:v>
                </c:pt>
                <c:pt idx="47">
                  <c:v>8.II.21</c:v>
                </c:pt>
                <c:pt idx="48">
                  <c:v>9.II.21</c:v>
                </c:pt>
                <c:pt idx="49">
                  <c:v>10.II.21</c:v>
                </c:pt>
                <c:pt idx="50">
                  <c:v>11.II.21</c:v>
                </c:pt>
                <c:pt idx="51">
                  <c:v>12.II.21</c:v>
                </c:pt>
                <c:pt idx="52">
                  <c:v>13.II.21</c:v>
                </c:pt>
                <c:pt idx="53">
                  <c:v>14.II.21</c:v>
                </c:pt>
                <c:pt idx="54">
                  <c:v>15.II.21</c:v>
                </c:pt>
                <c:pt idx="55">
                  <c:v>16.II.21</c:v>
                </c:pt>
                <c:pt idx="56">
                  <c:v>17.II.21</c:v>
                </c:pt>
                <c:pt idx="57">
                  <c:v>18.II.21</c:v>
                </c:pt>
                <c:pt idx="58">
                  <c:v>19.II.21</c:v>
                </c:pt>
                <c:pt idx="59">
                  <c:v>20.II.21</c:v>
                </c:pt>
                <c:pt idx="60">
                  <c:v>21.II.21</c:v>
                </c:pt>
                <c:pt idx="61">
                  <c:v>22.II.21</c:v>
                </c:pt>
                <c:pt idx="62">
                  <c:v>23.II.21</c:v>
                </c:pt>
                <c:pt idx="63">
                  <c:v>24.II.21</c:v>
                </c:pt>
                <c:pt idx="64">
                  <c:v>25.II.21</c:v>
                </c:pt>
                <c:pt idx="65">
                  <c:v>26.II.21</c:v>
                </c:pt>
                <c:pt idx="66">
                  <c:v>27.II.21</c:v>
                </c:pt>
                <c:pt idx="67">
                  <c:v>28.II.21</c:v>
                </c:pt>
                <c:pt idx="68">
                  <c:v>1.III.21</c:v>
                </c:pt>
                <c:pt idx="69">
                  <c:v>2.III.21</c:v>
                </c:pt>
                <c:pt idx="70">
                  <c:v>3.III.21</c:v>
                </c:pt>
                <c:pt idx="71">
                  <c:v>4.III.21</c:v>
                </c:pt>
                <c:pt idx="72">
                  <c:v>5.III.21</c:v>
                </c:pt>
                <c:pt idx="73">
                  <c:v>6.III.21</c:v>
                </c:pt>
                <c:pt idx="74">
                  <c:v>7.III.21</c:v>
                </c:pt>
                <c:pt idx="75">
                  <c:v>8.III.21</c:v>
                </c:pt>
                <c:pt idx="76">
                  <c:v>9.III.21</c:v>
                </c:pt>
                <c:pt idx="77">
                  <c:v>10.III.21</c:v>
                </c:pt>
                <c:pt idx="78">
                  <c:v>11.III.21</c:v>
                </c:pt>
                <c:pt idx="79">
                  <c:v>12.III.21</c:v>
                </c:pt>
                <c:pt idx="80">
                  <c:v>13.III.21</c:v>
                </c:pt>
                <c:pt idx="81">
                  <c:v>14.III.21</c:v>
                </c:pt>
                <c:pt idx="82">
                  <c:v>15.III.21</c:v>
                </c:pt>
                <c:pt idx="83">
                  <c:v>16.III.21</c:v>
                </c:pt>
                <c:pt idx="84">
                  <c:v>17.III.21</c:v>
                </c:pt>
                <c:pt idx="85">
                  <c:v>18.III.21</c:v>
                </c:pt>
                <c:pt idx="86">
                  <c:v>19.III.21</c:v>
                </c:pt>
                <c:pt idx="87">
                  <c:v>20.III.21</c:v>
                </c:pt>
                <c:pt idx="88">
                  <c:v>21.III.21</c:v>
                </c:pt>
                <c:pt idx="89">
                  <c:v>22.III.21</c:v>
                </c:pt>
                <c:pt idx="90">
                  <c:v>23.III.21</c:v>
                </c:pt>
                <c:pt idx="91">
                  <c:v>24.III.21</c:v>
                </c:pt>
                <c:pt idx="92">
                  <c:v>25.III.21</c:v>
                </c:pt>
                <c:pt idx="93">
                  <c:v>26.III.21</c:v>
                </c:pt>
                <c:pt idx="94">
                  <c:v>27.III.21</c:v>
                </c:pt>
                <c:pt idx="95">
                  <c:v>28.III.21</c:v>
                </c:pt>
                <c:pt idx="96">
                  <c:v>29.III.21</c:v>
                </c:pt>
                <c:pt idx="97">
                  <c:v>30.III.21</c:v>
                </c:pt>
                <c:pt idx="98">
                  <c:v>31.III.21</c:v>
                </c:pt>
                <c:pt idx="99">
                  <c:v>1.IV.21</c:v>
                </c:pt>
                <c:pt idx="100">
                  <c:v>2.IV.21</c:v>
                </c:pt>
                <c:pt idx="101">
                  <c:v>3.IV.21</c:v>
                </c:pt>
                <c:pt idx="102">
                  <c:v>4.IV.21</c:v>
                </c:pt>
                <c:pt idx="103">
                  <c:v>5.IV.21</c:v>
                </c:pt>
                <c:pt idx="104">
                  <c:v>6.IV.21</c:v>
                </c:pt>
                <c:pt idx="105">
                  <c:v>7.IV.21</c:v>
                </c:pt>
                <c:pt idx="106">
                  <c:v>8.IV.21</c:v>
                </c:pt>
                <c:pt idx="107">
                  <c:v>9.IV.21</c:v>
                </c:pt>
                <c:pt idx="108">
                  <c:v>10.IV.21</c:v>
                </c:pt>
                <c:pt idx="109">
                  <c:v>11.IV.21</c:v>
                </c:pt>
                <c:pt idx="110">
                  <c:v>12.IV.21</c:v>
                </c:pt>
                <c:pt idx="111">
                  <c:v>13.IV.21</c:v>
                </c:pt>
                <c:pt idx="112">
                  <c:v>14.IV.21</c:v>
                </c:pt>
                <c:pt idx="113">
                  <c:v>15.IV.21</c:v>
                </c:pt>
                <c:pt idx="114">
                  <c:v>16.IV.21</c:v>
                </c:pt>
                <c:pt idx="115">
                  <c:v>17.IV.21</c:v>
                </c:pt>
                <c:pt idx="116">
                  <c:v>18.IV.21</c:v>
                </c:pt>
                <c:pt idx="117">
                  <c:v>19.IV.21</c:v>
                </c:pt>
                <c:pt idx="118">
                  <c:v>20.IV.21</c:v>
                </c:pt>
                <c:pt idx="119">
                  <c:v>21.IV.21</c:v>
                </c:pt>
                <c:pt idx="120">
                  <c:v>22.IV.21</c:v>
                </c:pt>
                <c:pt idx="121">
                  <c:v>23.IV.21</c:v>
                </c:pt>
                <c:pt idx="122">
                  <c:v>24.IV.21</c:v>
                </c:pt>
                <c:pt idx="123">
                  <c:v>25.IV.21</c:v>
                </c:pt>
                <c:pt idx="124">
                  <c:v>26.IV.21</c:v>
                </c:pt>
                <c:pt idx="125">
                  <c:v>27.IV.21</c:v>
                </c:pt>
                <c:pt idx="126">
                  <c:v>28.IV.21</c:v>
                </c:pt>
                <c:pt idx="127">
                  <c:v>29.IV.21</c:v>
                </c:pt>
                <c:pt idx="128">
                  <c:v>30.IV.21</c:v>
                </c:pt>
                <c:pt idx="129">
                  <c:v>1.V.21</c:v>
                </c:pt>
                <c:pt idx="130">
                  <c:v>2.V.21</c:v>
                </c:pt>
                <c:pt idx="131">
                  <c:v>3.V.21</c:v>
                </c:pt>
                <c:pt idx="132">
                  <c:v>4.V.21</c:v>
                </c:pt>
                <c:pt idx="133">
                  <c:v>5.V.21</c:v>
                </c:pt>
                <c:pt idx="134">
                  <c:v>6.V.21</c:v>
                </c:pt>
                <c:pt idx="135">
                  <c:v>7.V.21</c:v>
                </c:pt>
                <c:pt idx="136">
                  <c:v>8.V.21</c:v>
                </c:pt>
                <c:pt idx="137">
                  <c:v>9.V.21</c:v>
                </c:pt>
                <c:pt idx="138">
                  <c:v>10.V.21</c:v>
                </c:pt>
                <c:pt idx="139">
                  <c:v>11.V.21</c:v>
                </c:pt>
                <c:pt idx="140">
                  <c:v>12.V.21</c:v>
                </c:pt>
                <c:pt idx="141">
                  <c:v>13.V.21</c:v>
                </c:pt>
                <c:pt idx="142">
                  <c:v>14.V.21</c:v>
                </c:pt>
                <c:pt idx="143">
                  <c:v>15.V.21</c:v>
                </c:pt>
                <c:pt idx="144">
                  <c:v>16.V.21</c:v>
                </c:pt>
                <c:pt idx="145">
                  <c:v>17.V.21</c:v>
                </c:pt>
                <c:pt idx="146">
                  <c:v>18.V.21</c:v>
                </c:pt>
                <c:pt idx="147">
                  <c:v>19.V.21</c:v>
                </c:pt>
                <c:pt idx="148">
                  <c:v>20.V.21</c:v>
                </c:pt>
                <c:pt idx="149">
                  <c:v>21.V.21</c:v>
                </c:pt>
                <c:pt idx="150">
                  <c:v>22.V.21</c:v>
                </c:pt>
                <c:pt idx="151">
                  <c:v>23.V.21</c:v>
                </c:pt>
                <c:pt idx="152">
                  <c:v>24.V.21</c:v>
                </c:pt>
                <c:pt idx="153">
                  <c:v>25.V.21</c:v>
                </c:pt>
                <c:pt idx="154">
                  <c:v>26.V.21</c:v>
                </c:pt>
                <c:pt idx="155">
                  <c:v>27.V.21</c:v>
                </c:pt>
                <c:pt idx="156">
                  <c:v>28.V.21</c:v>
                </c:pt>
                <c:pt idx="157">
                  <c:v>29.V.21</c:v>
                </c:pt>
                <c:pt idx="158">
                  <c:v>30.V.21</c:v>
                </c:pt>
                <c:pt idx="159">
                  <c:v>31.V.21</c:v>
                </c:pt>
                <c:pt idx="160">
                  <c:v>1.VI.21</c:v>
                </c:pt>
                <c:pt idx="161">
                  <c:v>2.VI.21</c:v>
                </c:pt>
                <c:pt idx="162">
                  <c:v>3.VI.21</c:v>
                </c:pt>
                <c:pt idx="163">
                  <c:v>4.VI.21</c:v>
                </c:pt>
                <c:pt idx="164">
                  <c:v>5.VI.21</c:v>
                </c:pt>
                <c:pt idx="165">
                  <c:v>6.VI.21</c:v>
                </c:pt>
                <c:pt idx="166">
                  <c:v>7.VI.21</c:v>
                </c:pt>
                <c:pt idx="167">
                  <c:v>8.VI.21</c:v>
                </c:pt>
                <c:pt idx="168">
                  <c:v>9.VI.21</c:v>
                </c:pt>
                <c:pt idx="169">
                  <c:v>10.VI.21</c:v>
                </c:pt>
                <c:pt idx="170">
                  <c:v>11.VI.21</c:v>
                </c:pt>
                <c:pt idx="171">
                  <c:v>12.VI.21</c:v>
                </c:pt>
                <c:pt idx="172">
                  <c:v>13.VI.21</c:v>
                </c:pt>
                <c:pt idx="173">
                  <c:v>14.VI.21</c:v>
                </c:pt>
                <c:pt idx="174">
                  <c:v>15.VI.21</c:v>
                </c:pt>
                <c:pt idx="175">
                  <c:v>16.VI.21</c:v>
                </c:pt>
                <c:pt idx="176">
                  <c:v>17.VI.21</c:v>
                </c:pt>
                <c:pt idx="177">
                  <c:v>18.VI.21</c:v>
                </c:pt>
                <c:pt idx="178">
                  <c:v>19.VI.21</c:v>
                </c:pt>
                <c:pt idx="179">
                  <c:v>20.VI.21</c:v>
                </c:pt>
                <c:pt idx="180">
                  <c:v>21.VI.21</c:v>
                </c:pt>
                <c:pt idx="181">
                  <c:v>22.VI.21</c:v>
                </c:pt>
                <c:pt idx="182">
                  <c:v>23.VI.21</c:v>
                </c:pt>
                <c:pt idx="183">
                  <c:v>24.VI.21</c:v>
                </c:pt>
                <c:pt idx="184">
                  <c:v>25.VI.21</c:v>
                </c:pt>
                <c:pt idx="185">
                  <c:v>26.VI.21</c:v>
                </c:pt>
                <c:pt idx="186">
                  <c:v>27.VI.21</c:v>
                </c:pt>
                <c:pt idx="187">
                  <c:v>28.VI.21</c:v>
                </c:pt>
                <c:pt idx="188">
                  <c:v>29.VI.21</c:v>
                </c:pt>
                <c:pt idx="189">
                  <c:v>30.VI.21</c:v>
                </c:pt>
                <c:pt idx="190">
                  <c:v>1.VII.21</c:v>
                </c:pt>
                <c:pt idx="191">
                  <c:v>2.VII.21</c:v>
                </c:pt>
                <c:pt idx="192">
                  <c:v>3.VII.21</c:v>
                </c:pt>
                <c:pt idx="193">
                  <c:v>4.VII.21</c:v>
                </c:pt>
                <c:pt idx="194">
                  <c:v>5.VII.21</c:v>
                </c:pt>
                <c:pt idx="195">
                  <c:v>6.VII.21</c:v>
                </c:pt>
                <c:pt idx="196">
                  <c:v>7.VII.21</c:v>
                </c:pt>
                <c:pt idx="197">
                  <c:v>8.VII.21</c:v>
                </c:pt>
                <c:pt idx="198">
                  <c:v>9.VII.21</c:v>
                </c:pt>
                <c:pt idx="199">
                  <c:v>10.VII.21</c:v>
                </c:pt>
                <c:pt idx="200">
                  <c:v>11.VII.21</c:v>
                </c:pt>
                <c:pt idx="201">
                  <c:v>12.VII.21</c:v>
                </c:pt>
                <c:pt idx="202">
                  <c:v>13.VII.21</c:v>
                </c:pt>
                <c:pt idx="203">
                  <c:v>14.VII.21</c:v>
                </c:pt>
                <c:pt idx="204">
                  <c:v>15.VII.21</c:v>
                </c:pt>
                <c:pt idx="205">
                  <c:v>16.VII.21</c:v>
                </c:pt>
                <c:pt idx="206">
                  <c:v>17.VII.21</c:v>
                </c:pt>
                <c:pt idx="207">
                  <c:v>18.VII.21</c:v>
                </c:pt>
                <c:pt idx="208">
                  <c:v>19.VII.21</c:v>
                </c:pt>
                <c:pt idx="209">
                  <c:v>20.VII.21</c:v>
                </c:pt>
                <c:pt idx="210">
                  <c:v>21.VII.21</c:v>
                </c:pt>
                <c:pt idx="211">
                  <c:v>22.VII.21</c:v>
                </c:pt>
                <c:pt idx="212">
                  <c:v>23.VII.21</c:v>
                </c:pt>
                <c:pt idx="213">
                  <c:v>24.VII.21</c:v>
                </c:pt>
                <c:pt idx="214">
                  <c:v>25.VII.21</c:v>
                </c:pt>
                <c:pt idx="215">
                  <c:v>26.VII.21</c:v>
                </c:pt>
                <c:pt idx="216">
                  <c:v>27.VII.21</c:v>
                </c:pt>
                <c:pt idx="217">
                  <c:v>28.VII.21</c:v>
                </c:pt>
                <c:pt idx="218">
                  <c:v>29.VII.21</c:v>
                </c:pt>
                <c:pt idx="219">
                  <c:v>30.VII.21</c:v>
                </c:pt>
                <c:pt idx="220">
                  <c:v>31.VII.21</c:v>
                </c:pt>
                <c:pt idx="221">
                  <c:v>1.VIII.21</c:v>
                </c:pt>
                <c:pt idx="222">
                  <c:v>2.VIII.21</c:v>
                </c:pt>
                <c:pt idx="223">
                  <c:v>3.VIII.21</c:v>
                </c:pt>
                <c:pt idx="224">
                  <c:v>4.VIII.21</c:v>
                </c:pt>
                <c:pt idx="225">
                  <c:v>5.VIII.21</c:v>
                </c:pt>
                <c:pt idx="226">
                  <c:v>6.VIII.21</c:v>
                </c:pt>
                <c:pt idx="227">
                  <c:v>7.VIII.21</c:v>
                </c:pt>
                <c:pt idx="228">
                  <c:v>8.VIII.21</c:v>
                </c:pt>
                <c:pt idx="229">
                  <c:v>9.VIII.21</c:v>
                </c:pt>
                <c:pt idx="230">
                  <c:v>10.VIII.21</c:v>
                </c:pt>
                <c:pt idx="231">
                  <c:v>11.VIII.21</c:v>
                </c:pt>
                <c:pt idx="232">
                  <c:v>12.VIII.21</c:v>
                </c:pt>
                <c:pt idx="233">
                  <c:v>13.VIII.21</c:v>
                </c:pt>
                <c:pt idx="234">
                  <c:v>14.VIII.21</c:v>
                </c:pt>
                <c:pt idx="235">
                  <c:v>15.VIII.21</c:v>
                </c:pt>
                <c:pt idx="236">
                  <c:v>16.VIII.21</c:v>
                </c:pt>
                <c:pt idx="237">
                  <c:v>17.VIII.21</c:v>
                </c:pt>
                <c:pt idx="238">
                  <c:v>18.VIII.21</c:v>
                </c:pt>
                <c:pt idx="239">
                  <c:v>19.VIII.21</c:v>
                </c:pt>
                <c:pt idx="240">
                  <c:v>20.VIII.21</c:v>
                </c:pt>
                <c:pt idx="241">
                  <c:v>21.VIII.21</c:v>
                </c:pt>
                <c:pt idx="242">
                  <c:v>22.VIII.21</c:v>
                </c:pt>
                <c:pt idx="243">
                  <c:v>23.VIII.21</c:v>
                </c:pt>
                <c:pt idx="244">
                  <c:v>24.VIII.21</c:v>
                </c:pt>
                <c:pt idx="245">
                  <c:v>25.VIII.21</c:v>
                </c:pt>
                <c:pt idx="246">
                  <c:v>26.VIII.21</c:v>
                </c:pt>
                <c:pt idx="247">
                  <c:v>27.VIII.21</c:v>
                </c:pt>
                <c:pt idx="248">
                  <c:v>28.VIII.21</c:v>
                </c:pt>
                <c:pt idx="249">
                  <c:v>29.VIII.21</c:v>
                </c:pt>
                <c:pt idx="250">
                  <c:v>30.VIII.21</c:v>
                </c:pt>
                <c:pt idx="251">
                  <c:v>31.VIII.21</c:v>
                </c:pt>
                <c:pt idx="252">
                  <c:v>1.IX.21</c:v>
                </c:pt>
                <c:pt idx="253">
                  <c:v>2.IX.21</c:v>
                </c:pt>
                <c:pt idx="254">
                  <c:v>3.IX.21</c:v>
                </c:pt>
                <c:pt idx="255">
                  <c:v>4.IX.21</c:v>
                </c:pt>
                <c:pt idx="256">
                  <c:v>5.IX.21</c:v>
                </c:pt>
                <c:pt idx="257">
                  <c:v>6.IX.21</c:v>
                </c:pt>
                <c:pt idx="258">
                  <c:v>7.IX.21</c:v>
                </c:pt>
                <c:pt idx="259">
                  <c:v>8.IX.21</c:v>
                </c:pt>
                <c:pt idx="260">
                  <c:v>9.IX.21</c:v>
                </c:pt>
                <c:pt idx="261">
                  <c:v>10.IX.21</c:v>
                </c:pt>
                <c:pt idx="262">
                  <c:v>11.IX.21</c:v>
                </c:pt>
                <c:pt idx="263">
                  <c:v>12.IX.21</c:v>
                </c:pt>
                <c:pt idx="264">
                  <c:v>13.IX.21</c:v>
                </c:pt>
                <c:pt idx="265">
                  <c:v>14.IX.21</c:v>
                </c:pt>
                <c:pt idx="266">
                  <c:v>15.IX.21</c:v>
                </c:pt>
                <c:pt idx="267">
                  <c:v>16.IX.21</c:v>
                </c:pt>
                <c:pt idx="268">
                  <c:v>17.IX.21</c:v>
                </c:pt>
                <c:pt idx="269">
                  <c:v>18.IX.21</c:v>
                </c:pt>
                <c:pt idx="270">
                  <c:v>19.IX.21</c:v>
                </c:pt>
                <c:pt idx="271">
                  <c:v>20.IX.21</c:v>
                </c:pt>
                <c:pt idx="272">
                  <c:v>21.IX.21</c:v>
                </c:pt>
                <c:pt idx="273">
                  <c:v>22.IX.21</c:v>
                </c:pt>
                <c:pt idx="274">
                  <c:v>23.IX.21</c:v>
                </c:pt>
                <c:pt idx="275">
                  <c:v>24.IX.21</c:v>
                </c:pt>
                <c:pt idx="276">
                  <c:v>25.IX.21</c:v>
                </c:pt>
                <c:pt idx="277">
                  <c:v>26.IX.21</c:v>
                </c:pt>
                <c:pt idx="278">
                  <c:v>27.IX.21</c:v>
                </c:pt>
                <c:pt idx="279">
                  <c:v>28.IX.21</c:v>
                </c:pt>
                <c:pt idx="280">
                  <c:v>29.IX.21</c:v>
                </c:pt>
                <c:pt idx="281">
                  <c:v>30.IX.21</c:v>
                </c:pt>
                <c:pt idx="282">
                  <c:v>1.X.21</c:v>
                </c:pt>
                <c:pt idx="283">
                  <c:v>2.X.21</c:v>
                </c:pt>
                <c:pt idx="284">
                  <c:v>3.X.21</c:v>
                </c:pt>
                <c:pt idx="285">
                  <c:v>4.X.21</c:v>
                </c:pt>
                <c:pt idx="286">
                  <c:v>5.X.21</c:v>
                </c:pt>
                <c:pt idx="287">
                  <c:v>6.X.21</c:v>
                </c:pt>
                <c:pt idx="288">
                  <c:v>7.X.21</c:v>
                </c:pt>
                <c:pt idx="289">
                  <c:v>8.X.21</c:v>
                </c:pt>
                <c:pt idx="290">
                  <c:v>9.X.21</c:v>
                </c:pt>
                <c:pt idx="291">
                  <c:v>10.X.21</c:v>
                </c:pt>
                <c:pt idx="292">
                  <c:v>11.X.21</c:v>
                </c:pt>
                <c:pt idx="293">
                  <c:v>12.X.21</c:v>
                </c:pt>
                <c:pt idx="294">
                  <c:v>13.X.21</c:v>
                </c:pt>
                <c:pt idx="295">
                  <c:v>14.X.21</c:v>
                </c:pt>
                <c:pt idx="296">
                  <c:v>15.X.21</c:v>
                </c:pt>
                <c:pt idx="297">
                  <c:v>16.X.21</c:v>
                </c:pt>
                <c:pt idx="298">
                  <c:v>17.X.21</c:v>
                </c:pt>
                <c:pt idx="299">
                  <c:v>18.X.21</c:v>
                </c:pt>
                <c:pt idx="300">
                  <c:v>19.X.21</c:v>
                </c:pt>
                <c:pt idx="301">
                  <c:v>20.X.21</c:v>
                </c:pt>
                <c:pt idx="302">
                  <c:v>21.X.21</c:v>
                </c:pt>
                <c:pt idx="303">
                  <c:v>22.X.21</c:v>
                </c:pt>
                <c:pt idx="304">
                  <c:v>23.X.21</c:v>
                </c:pt>
                <c:pt idx="305">
                  <c:v>24.X.21</c:v>
                </c:pt>
                <c:pt idx="306">
                  <c:v>25.X.21</c:v>
                </c:pt>
                <c:pt idx="307">
                  <c:v>26.X.21</c:v>
                </c:pt>
                <c:pt idx="308">
                  <c:v>27.X.21</c:v>
                </c:pt>
                <c:pt idx="309">
                  <c:v>28.X.21</c:v>
                </c:pt>
                <c:pt idx="310">
                  <c:v>29.X.21</c:v>
                </c:pt>
                <c:pt idx="311">
                  <c:v>30.X.21</c:v>
                </c:pt>
                <c:pt idx="312">
                  <c:v>31.X.21</c:v>
                </c:pt>
                <c:pt idx="313">
                  <c:v>1.XI.21</c:v>
                </c:pt>
                <c:pt idx="314">
                  <c:v>2.XI.21</c:v>
                </c:pt>
                <c:pt idx="315">
                  <c:v>3.XI.21</c:v>
                </c:pt>
                <c:pt idx="316">
                  <c:v>4.XI.21</c:v>
                </c:pt>
                <c:pt idx="317">
                  <c:v>5.XI.21</c:v>
                </c:pt>
                <c:pt idx="318">
                  <c:v>6.XI.21</c:v>
                </c:pt>
                <c:pt idx="319">
                  <c:v>7.XI.21</c:v>
                </c:pt>
                <c:pt idx="320">
                  <c:v>8.XI.21</c:v>
                </c:pt>
                <c:pt idx="321">
                  <c:v>9.XI.21</c:v>
                </c:pt>
                <c:pt idx="322">
                  <c:v>10.XI.21</c:v>
                </c:pt>
                <c:pt idx="323">
                  <c:v>11.XI.21</c:v>
                </c:pt>
                <c:pt idx="324">
                  <c:v>12.XI.21</c:v>
                </c:pt>
                <c:pt idx="325">
                  <c:v>13.XI.21</c:v>
                </c:pt>
                <c:pt idx="326">
                  <c:v>14.XI.21</c:v>
                </c:pt>
                <c:pt idx="327">
                  <c:v>15.XI.21</c:v>
                </c:pt>
                <c:pt idx="328">
                  <c:v>16.XI.21</c:v>
                </c:pt>
                <c:pt idx="329">
                  <c:v>17.XI.21</c:v>
                </c:pt>
                <c:pt idx="330">
                  <c:v>18.XI.21</c:v>
                </c:pt>
                <c:pt idx="331">
                  <c:v>19.XI.21</c:v>
                </c:pt>
                <c:pt idx="332">
                  <c:v>20.XI.21</c:v>
                </c:pt>
                <c:pt idx="333">
                  <c:v>21.XI.21</c:v>
                </c:pt>
                <c:pt idx="334">
                  <c:v>22.XI.21</c:v>
                </c:pt>
                <c:pt idx="335">
                  <c:v>23.XI.21</c:v>
                </c:pt>
                <c:pt idx="336">
                  <c:v>24.XI.21</c:v>
                </c:pt>
                <c:pt idx="337">
                  <c:v>25.XI.21</c:v>
                </c:pt>
                <c:pt idx="338">
                  <c:v>26.XI.21</c:v>
                </c:pt>
                <c:pt idx="339">
                  <c:v>27.XI.21</c:v>
                </c:pt>
                <c:pt idx="340">
                  <c:v>28.XI.21</c:v>
                </c:pt>
                <c:pt idx="341">
                  <c:v>29.XI.21</c:v>
                </c:pt>
                <c:pt idx="342">
                  <c:v>30.XI.21</c:v>
                </c:pt>
                <c:pt idx="343">
                  <c:v>1.XII.21</c:v>
                </c:pt>
                <c:pt idx="344">
                  <c:v>2.XII.21</c:v>
                </c:pt>
                <c:pt idx="345">
                  <c:v>3.XII.21</c:v>
                </c:pt>
                <c:pt idx="346">
                  <c:v>4.XII.21</c:v>
                </c:pt>
                <c:pt idx="347">
                  <c:v>5.XII.21</c:v>
                </c:pt>
                <c:pt idx="348">
                  <c:v>6.XII.21</c:v>
                </c:pt>
                <c:pt idx="349">
                  <c:v>7.XII.21</c:v>
                </c:pt>
                <c:pt idx="350">
                  <c:v>8.XII.21</c:v>
                </c:pt>
                <c:pt idx="351">
                  <c:v>9.XII.21</c:v>
                </c:pt>
                <c:pt idx="352">
                  <c:v>10.XII.21</c:v>
                </c:pt>
                <c:pt idx="353">
                  <c:v>11.XII.21</c:v>
                </c:pt>
                <c:pt idx="354">
                  <c:v>12.XII.21</c:v>
                </c:pt>
                <c:pt idx="355">
                  <c:v>13.XII.21</c:v>
                </c:pt>
                <c:pt idx="356">
                  <c:v>14.XII.21</c:v>
                </c:pt>
                <c:pt idx="357">
                  <c:v>15.XII.21</c:v>
                </c:pt>
                <c:pt idx="358">
                  <c:v>16.XII.21</c:v>
                </c:pt>
                <c:pt idx="359">
                  <c:v>17.XII.21</c:v>
                </c:pt>
                <c:pt idx="360">
                  <c:v>18.XII.21</c:v>
                </c:pt>
                <c:pt idx="361">
                  <c:v>19.XII.21</c:v>
                </c:pt>
                <c:pt idx="362">
                  <c:v>20.XII.21</c:v>
                </c:pt>
                <c:pt idx="363">
                  <c:v>21.XII.21</c:v>
                </c:pt>
                <c:pt idx="364">
                  <c:v>22.XII.21</c:v>
                </c:pt>
                <c:pt idx="365">
                  <c:v>23.XII.21</c:v>
                </c:pt>
                <c:pt idx="366">
                  <c:v>24.XII.21</c:v>
                </c:pt>
                <c:pt idx="367">
                  <c:v>27.XII.21</c:v>
                </c:pt>
                <c:pt idx="368">
                  <c:v>28.XII.21</c:v>
                </c:pt>
                <c:pt idx="369">
                  <c:v>29.XII.21</c:v>
                </c:pt>
                <c:pt idx="370">
                  <c:v>30.XII.21</c:v>
                </c:pt>
                <c:pt idx="371">
                  <c:v>31.XII.21</c:v>
                </c:pt>
                <c:pt idx="372">
                  <c:v>2.I.22</c:v>
                </c:pt>
                <c:pt idx="373">
                  <c:v>3.I.22</c:v>
                </c:pt>
                <c:pt idx="374">
                  <c:v>4.I.22</c:v>
                </c:pt>
                <c:pt idx="375">
                  <c:v>5.I.22</c:v>
                </c:pt>
                <c:pt idx="376">
                  <c:v>6.I.22</c:v>
                </c:pt>
                <c:pt idx="377">
                  <c:v>7.I.22</c:v>
                </c:pt>
                <c:pt idx="378">
                  <c:v>8.I.22</c:v>
                </c:pt>
                <c:pt idx="379">
                  <c:v>9.I.22</c:v>
                </c:pt>
                <c:pt idx="380">
                  <c:v>10.I.22</c:v>
                </c:pt>
                <c:pt idx="381">
                  <c:v>11.I.22</c:v>
                </c:pt>
                <c:pt idx="382">
                  <c:v>12.I.22</c:v>
                </c:pt>
                <c:pt idx="383">
                  <c:v>13.I.22</c:v>
                </c:pt>
                <c:pt idx="384">
                  <c:v>14.I.22</c:v>
                </c:pt>
                <c:pt idx="385">
                  <c:v>15.I.22</c:v>
                </c:pt>
                <c:pt idx="386">
                  <c:v>16.I.22</c:v>
                </c:pt>
                <c:pt idx="387">
                  <c:v>17.I.22</c:v>
                </c:pt>
                <c:pt idx="388">
                  <c:v>18.I.22</c:v>
                </c:pt>
                <c:pt idx="389">
                  <c:v>19.I.22</c:v>
                </c:pt>
                <c:pt idx="390">
                  <c:v>20.I.22</c:v>
                </c:pt>
                <c:pt idx="391">
                  <c:v>21.I.22</c:v>
                </c:pt>
                <c:pt idx="392">
                  <c:v>22.I.22</c:v>
                </c:pt>
                <c:pt idx="393">
                  <c:v>23.I.22</c:v>
                </c:pt>
                <c:pt idx="394">
                  <c:v>24.I.22</c:v>
                </c:pt>
                <c:pt idx="395">
                  <c:v>25.I.22</c:v>
                </c:pt>
                <c:pt idx="396">
                  <c:v>26.I.22</c:v>
                </c:pt>
                <c:pt idx="397">
                  <c:v>27.I.22</c:v>
                </c:pt>
                <c:pt idx="398">
                  <c:v>28.I.22</c:v>
                </c:pt>
                <c:pt idx="399">
                  <c:v>29.I.22</c:v>
                </c:pt>
                <c:pt idx="400">
                  <c:v>30.I.22</c:v>
                </c:pt>
                <c:pt idx="401">
                  <c:v>31.I.22</c:v>
                </c:pt>
                <c:pt idx="402">
                  <c:v>1.II.22</c:v>
                </c:pt>
                <c:pt idx="403">
                  <c:v>2.II.22</c:v>
                </c:pt>
                <c:pt idx="404">
                  <c:v>3.II.22</c:v>
                </c:pt>
                <c:pt idx="405">
                  <c:v>4.II.22</c:v>
                </c:pt>
                <c:pt idx="406">
                  <c:v>5.II.22</c:v>
                </c:pt>
                <c:pt idx="407">
                  <c:v>6.II.22</c:v>
                </c:pt>
                <c:pt idx="408">
                  <c:v>7.II.22</c:v>
                </c:pt>
                <c:pt idx="409">
                  <c:v>8.II.22</c:v>
                </c:pt>
                <c:pt idx="410">
                  <c:v>9.II.22</c:v>
                </c:pt>
                <c:pt idx="411">
                  <c:v>10.II.22</c:v>
                </c:pt>
                <c:pt idx="412">
                  <c:v>11.II.22</c:v>
                </c:pt>
                <c:pt idx="413">
                  <c:v>12.II.22</c:v>
                </c:pt>
                <c:pt idx="414">
                  <c:v>13.II.22</c:v>
                </c:pt>
                <c:pt idx="415">
                  <c:v>14.II.22</c:v>
                </c:pt>
                <c:pt idx="416">
                  <c:v>15.II.22</c:v>
                </c:pt>
                <c:pt idx="417">
                  <c:v>16.II.22</c:v>
                </c:pt>
                <c:pt idx="418">
                  <c:v>17.II.22</c:v>
                </c:pt>
                <c:pt idx="419">
                  <c:v>18.II.22</c:v>
                </c:pt>
                <c:pt idx="420">
                  <c:v>19.II.22</c:v>
                </c:pt>
              </c:strCache>
            </c:strRef>
          </c:cat>
          <c:val>
            <c:numRef>
              <c:f>List1!$E$4:$PI$4</c:f>
              <c:numCache>
                <c:formatCode>General</c:formatCode>
                <c:ptCount val="421"/>
                <c:pt idx="4">
                  <c:v>193</c:v>
                </c:pt>
                <c:pt idx="5">
                  <c:v>640</c:v>
                </c:pt>
                <c:pt idx="6">
                  <c:v>1247</c:v>
                </c:pt>
                <c:pt idx="7">
                  <c:v>1867</c:v>
                </c:pt>
                <c:pt idx="8">
                  <c:v>2040</c:v>
                </c:pt>
                <c:pt idx="9">
                  <c:v>2069</c:v>
                </c:pt>
                <c:pt idx="10">
                  <c:v>2357</c:v>
                </c:pt>
                <c:pt idx="11">
                  <c:v>2567</c:v>
                </c:pt>
                <c:pt idx="12">
                  <c:v>3194</c:v>
                </c:pt>
                <c:pt idx="13">
                  <c:v>4157</c:v>
                </c:pt>
                <c:pt idx="14">
                  <c:v>5575</c:v>
                </c:pt>
                <c:pt idx="15">
                  <c:v>7175</c:v>
                </c:pt>
                <c:pt idx="16">
                  <c:v>9022</c:v>
                </c:pt>
                <c:pt idx="17">
                  <c:v>9330</c:v>
                </c:pt>
                <c:pt idx="18">
                  <c:v>9639</c:v>
                </c:pt>
                <c:pt idx="19">
                  <c:v>11502</c:v>
                </c:pt>
                <c:pt idx="20">
                  <c:v>13780</c:v>
                </c:pt>
                <c:pt idx="21">
                  <c:v>15819</c:v>
                </c:pt>
                <c:pt idx="22">
                  <c:v>17705</c:v>
                </c:pt>
                <c:pt idx="23">
                  <c:v>19315</c:v>
                </c:pt>
                <c:pt idx="24">
                  <c:v>19535</c:v>
                </c:pt>
                <c:pt idx="25">
                  <c:v>19631</c:v>
                </c:pt>
                <c:pt idx="26">
                  <c:v>20793</c:v>
                </c:pt>
                <c:pt idx="27">
                  <c:v>21716</c:v>
                </c:pt>
                <c:pt idx="28">
                  <c:v>22647</c:v>
                </c:pt>
                <c:pt idx="29">
                  <c:v>23501</c:v>
                </c:pt>
                <c:pt idx="30">
                  <c:v>24252</c:v>
                </c:pt>
                <c:pt idx="31">
                  <c:v>24316</c:v>
                </c:pt>
                <c:pt idx="32">
                  <c:v>24361</c:v>
                </c:pt>
                <c:pt idx="33">
                  <c:v>24812</c:v>
                </c:pt>
                <c:pt idx="34">
                  <c:v>25265</c:v>
                </c:pt>
                <c:pt idx="35">
                  <c:v>25661</c:v>
                </c:pt>
                <c:pt idx="36">
                  <c:v>26062</c:v>
                </c:pt>
                <c:pt idx="37">
                  <c:v>26446</c:v>
                </c:pt>
                <c:pt idx="38">
                  <c:v>26470</c:v>
                </c:pt>
                <c:pt idx="39">
                  <c:v>26502</c:v>
                </c:pt>
                <c:pt idx="40">
                  <c:v>26794</c:v>
                </c:pt>
                <c:pt idx="41">
                  <c:v>27084</c:v>
                </c:pt>
                <c:pt idx="42">
                  <c:v>27316</c:v>
                </c:pt>
                <c:pt idx="43">
                  <c:v>27500</c:v>
                </c:pt>
                <c:pt idx="44">
                  <c:v>27735</c:v>
                </c:pt>
                <c:pt idx="45">
                  <c:v>27744</c:v>
                </c:pt>
                <c:pt idx="46">
                  <c:v>27762</c:v>
                </c:pt>
                <c:pt idx="47">
                  <c:v>27999</c:v>
                </c:pt>
                <c:pt idx="48">
                  <c:v>28193</c:v>
                </c:pt>
                <c:pt idx="49">
                  <c:v>28460</c:v>
                </c:pt>
                <c:pt idx="50">
                  <c:v>28811</c:v>
                </c:pt>
                <c:pt idx="51">
                  <c:v>29203</c:v>
                </c:pt>
                <c:pt idx="52">
                  <c:v>29315</c:v>
                </c:pt>
                <c:pt idx="53">
                  <c:v>29381</c:v>
                </c:pt>
                <c:pt idx="54">
                  <c:v>29796</c:v>
                </c:pt>
                <c:pt idx="55">
                  <c:v>30302</c:v>
                </c:pt>
                <c:pt idx="56">
                  <c:v>30847</c:v>
                </c:pt>
                <c:pt idx="57">
                  <c:v>31404</c:v>
                </c:pt>
                <c:pt idx="58">
                  <c:v>32058</c:v>
                </c:pt>
                <c:pt idx="59">
                  <c:v>32283</c:v>
                </c:pt>
                <c:pt idx="60">
                  <c:v>32340</c:v>
                </c:pt>
                <c:pt idx="61">
                  <c:v>33024</c:v>
                </c:pt>
                <c:pt idx="62">
                  <c:v>34023</c:v>
                </c:pt>
                <c:pt idx="63">
                  <c:v>35102</c:v>
                </c:pt>
                <c:pt idx="64">
                  <c:v>36254</c:v>
                </c:pt>
                <c:pt idx="65">
                  <c:v>37324</c:v>
                </c:pt>
                <c:pt idx="66">
                  <c:v>37483</c:v>
                </c:pt>
                <c:pt idx="67">
                  <c:v>37613</c:v>
                </c:pt>
                <c:pt idx="68">
                  <c:v>38725</c:v>
                </c:pt>
                <c:pt idx="69">
                  <c:v>39932</c:v>
                </c:pt>
                <c:pt idx="70">
                  <c:v>41044</c:v>
                </c:pt>
                <c:pt idx="71">
                  <c:v>42046</c:v>
                </c:pt>
                <c:pt idx="72">
                  <c:v>43233</c:v>
                </c:pt>
                <c:pt idx="73">
                  <c:v>43523</c:v>
                </c:pt>
                <c:pt idx="74">
                  <c:v>43738</c:v>
                </c:pt>
                <c:pt idx="75">
                  <c:v>44580</c:v>
                </c:pt>
                <c:pt idx="76">
                  <c:v>45403</c:v>
                </c:pt>
                <c:pt idx="77">
                  <c:v>46301</c:v>
                </c:pt>
                <c:pt idx="78">
                  <c:v>47497</c:v>
                </c:pt>
                <c:pt idx="79">
                  <c:v>48609</c:v>
                </c:pt>
                <c:pt idx="80">
                  <c:v>48893</c:v>
                </c:pt>
                <c:pt idx="81">
                  <c:v>49134</c:v>
                </c:pt>
                <c:pt idx="82">
                  <c:v>49765</c:v>
                </c:pt>
                <c:pt idx="83">
                  <c:v>50691</c:v>
                </c:pt>
                <c:pt idx="84">
                  <c:v>51630</c:v>
                </c:pt>
                <c:pt idx="85">
                  <c:v>52408</c:v>
                </c:pt>
                <c:pt idx="86">
                  <c:v>53365</c:v>
                </c:pt>
                <c:pt idx="87">
                  <c:v>53765</c:v>
                </c:pt>
                <c:pt idx="88">
                  <c:v>53970</c:v>
                </c:pt>
                <c:pt idx="89">
                  <c:v>54419</c:v>
                </c:pt>
                <c:pt idx="90">
                  <c:v>54913</c:v>
                </c:pt>
                <c:pt idx="91">
                  <c:v>55329</c:v>
                </c:pt>
                <c:pt idx="92">
                  <c:v>55874</c:v>
                </c:pt>
                <c:pt idx="93">
                  <c:v>56452</c:v>
                </c:pt>
                <c:pt idx="94">
                  <c:v>56612</c:v>
                </c:pt>
                <c:pt idx="95">
                  <c:v>56748</c:v>
                </c:pt>
                <c:pt idx="96">
                  <c:v>57058</c:v>
                </c:pt>
                <c:pt idx="97">
                  <c:v>57480</c:v>
                </c:pt>
                <c:pt idx="98">
                  <c:v>57975</c:v>
                </c:pt>
                <c:pt idx="99">
                  <c:v>58405</c:v>
                </c:pt>
                <c:pt idx="100">
                  <c:v>58492</c:v>
                </c:pt>
                <c:pt idx="101">
                  <c:v>58550</c:v>
                </c:pt>
                <c:pt idx="102">
                  <c:v>58588</c:v>
                </c:pt>
                <c:pt idx="103">
                  <c:v>58617</c:v>
                </c:pt>
                <c:pt idx="104">
                  <c:v>58846</c:v>
                </c:pt>
                <c:pt idx="105">
                  <c:v>59109</c:v>
                </c:pt>
                <c:pt idx="106">
                  <c:v>59648</c:v>
                </c:pt>
                <c:pt idx="107">
                  <c:v>60151</c:v>
                </c:pt>
                <c:pt idx="108">
                  <c:v>60324</c:v>
                </c:pt>
                <c:pt idx="109">
                  <c:v>60440</c:v>
                </c:pt>
                <c:pt idx="110">
                  <c:v>60817</c:v>
                </c:pt>
                <c:pt idx="111">
                  <c:v>61130</c:v>
                </c:pt>
                <c:pt idx="112">
                  <c:v>61515</c:v>
                </c:pt>
                <c:pt idx="113">
                  <c:v>62066</c:v>
                </c:pt>
                <c:pt idx="114">
                  <c:v>62714</c:v>
                </c:pt>
                <c:pt idx="115">
                  <c:v>62892</c:v>
                </c:pt>
                <c:pt idx="116">
                  <c:v>63086</c:v>
                </c:pt>
                <c:pt idx="117">
                  <c:v>63543</c:v>
                </c:pt>
                <c:pt idx="118">
                  <c:v>63969</c:v>
                </c:pt>
                <c:pt idx="119">
                  <c:v>64469</c:v>
                </c:pt>
                <c:pt idx="120">
                  <c:v>65069</c:v>
                </c:pt>
                <c:pt idx="121">
                  <c:v>65716</c:v>
                </c:pt>
                <c:pt idx="122">
                  <c:v>65900</c:v>
                </c:pt>
                <c:pt idx="123">
                  <c:v>66051</c:v>
                </c:pt>
                <c:pt idx="124">
                  <c:v>66532</c:v>
                </c:pt>
                <c:pt idx="125">
                  <c:v>66954</c:v>
                </c:pt>
                <c:pt idx="126">
                  <c:v>67521</c:v>
                </c:pt>
                <c:pt idx="127">
                  <c:v>68108</c:v>
                </c:pt>
                <c:pt idx="128">
                  <c:v>68726</c:v>
                </c:pt>
                <c:pt idx="129">
                  <c:v>68880</c:v>
                </c:pt>
                <c:pt idx="130">
                  <c:v>69035</c:v>
                </c:pt>
                <c:pt idx="131">
                  <c:v>69490</c:v>
                </c:pt>
                <c:pt idx="132">
                  <c:v>69949</c:v>
                </c:pt>
                <c:pt idx="133">
                  <c:v>70475</c:v>
                </c:pt>
                <c:pt idx="134">
                  <c:v>71007</c:v>
                </c:pt>
                <c:pt idx="135">
                  <c:v>71569</c:v>
                </c:pt>
                <c:pt idx="136">
                  <c:v>71791</c:v>
                </c:pt>
                <c:pt idx="137">
                  <c:v>71961</c:v>
                </c:pt>
                <c:pt idx="138">
                  <c:v>72436</c:v>
                </c:pt>
                <c:pt idx="139">
                  <c:v>72868</c:v>
                </c:pt>
                <c:pt idx="140">
                  <c:v>73345</c:v>
                </c:pt>
                <c:pt idx="141">
                  <c:v>73893</c:v>
                </c:pt>
                <c:pt idx="142">
                  <c:v>74403</c:v>
                </c:pt>
                <c:pt idx="143">
                  <c:v>74611</c:v>
                </c:pt>
                <c:pt idx="144">
                  <c:v>74761</c:v>
                </c:pt>
                <c:pt idx="145">
                  <c:v>75151</c:v>
                </c:pt>
                <c:pt idx="146">
                  <c:v>75569</c:v>
                </c:pt>
                <c:pt idx="147">
                  <c:v>76033</c:v>
                </c:pt>
                <c:pt idx="148">
                  <c:v>76479</c:v>
                </c:pt>
                <c:pt idx="149">
                  <c:v>76936</c:v>
                </c:pt>
                <c:pt idx="150">
                  <c:v>77114</c:v>
                </c:pt>
                <c:pt idx="151">
                  <c:v>77230</c:v>
                </c:pt>
                <c:pt idx="152">
                  <c:v>77518</c:v>
                </c:pt>
                <c:pt idx="153">
                  <c:v>77848</c:v>
                </c:pt>
                <c:pt idx="154">
                  <c:v>78260</c:v>
                </c:pt>
                <c:pt idx="155">
                  <c:v>78633</c:v>
                </c:pt>
                <c:pt idx="156">
                  <c:v>79073</c:v>
                </c:pt>
                <c:pt idx="157">
                  <c:v>79260</c:v>
                </c:pt>
                <c:pt idx="158">
                  <c:v>79427</c:v>
                </c:pt>
                <c:pt idx="159">
                  <c:v>79770</c:v>
                </c:pt>
                <c:pt idx="160">
                  <c:v>80141</c:v>
                </c:pt>
                <c:pt idx="161">
                  <c:v>80593</c:v>
                </c:pt>
                <c:pt idx="162">
                  <c:v>81010</c:v>
                </c:pt>
                <c:pt idx="163">
                  <c:v>81477</c:v>
                </c:pt>
                <c:pt idx="164">
                  <c:v>81738</c:v>
                </c:pt>
                <c:pt idx="165">
                  <c:v>81982</c:v>
                </c:pt>
                <c:pt idx="166">
                  <c:v>82461</c:v>
                </c:pt>
                <c:pt idx="167">
                  <c:v>83009</c:v>
                </c:pt>
                <c:pt idx="168">
                  <c:v>83498</c:v>
                </c:pt>
                <c:pt idx="169">
                  <c:v>83932</c:v>
                </c:pt>
                <c:pt idx="170">
                  <c:v>84397</c:v>
                </c:pt>
                <c:pt idx="171">
                  <c:v>84689</c:v>
                </c:pt>
                <c:pt idx="172">
                  <c:v>84917</c:v>
                </c:pt>
                <c:pt idx="173">
                  <c:v>85273</c:v>
                </c:pt>
                <c:pt idx="174">
                  <c:v>85709</c:v>
                </c:pt>
                <c:pt idx="175">
                  <c:v>86099</c:v>
                </c:pt>
                <c:pt idx="176">
                  <c:v>86468</c:v>
                </c:pt>
                <c:pt idx="177">
                  <c:v>86850</c:v>
                </c:pt>
                <c:pt idx="178">
                  <c:v>87041</c:v>
                </c:pt>
                <c:pt idx="179">
                  <c:v>87183</c:v>
                </c:pt>
                <c:pt idx="180">
                  <c:v>87482</c:v>
                </c:pt>
                <c:pt idx="181">
                  <c:v>87801</c:v>
                </c:pt>
                <c:pt idx="182">
                  <c:v>88058</c:v>
                </c:pt>
                <c:pt idx="183">
                  <c:v>88348</c:v>
                </c:pt>
                <c:pt idx="184">
                  <c:v>88608</c:v>
                </c:pt>
                <c:pt idx="185">
                  <c:v>88760</c:v>
                </c:pt>
                <c:pt idx="186">
                  <c:v>88873</c:v>
                </c:pt>
                <c:pt idx="187">
                  <c:v>89146</c:v>
                </c:pt>
                <c:pt idx="188">
                  <c:v>89395</c:v>
                </c:pt>
                <c:pt idx="189">
                  <c:v>89639</c:v>
                </c:pt>
                <c:pt idx="190">
                  <c:v>89818</c:v>
                </c:pt>
                <c:pt idx="191">
                  <c:v>90056</c:v>
                </c:pt>
                <c:pt idx="192">
                  <c:v>90107</c:v>
                </c:pt>
                <c:pt idx="193">
                  <c:v>90168</c:v>
                </c:pt>
                <c:pt idx="194">
                  <c:v>90226</c:v>
                </c:pt>
                <c:pt idx="195">
                  <c:v>90286</c:v>
                </c:pt>
                <c:pt idx="196">
                  <c:v>90494</c:v>
                </c:pt>
                <c:pt idx="197">
                  <c:v>90712</c:v>
                </c:pt>
                <c:pt idx="198">
                  <c:v>90937</c:v>
                </c:pt>
                <c:pt idx="199">
                  <c:v>91030</c:v>
                </c:pt>
                <c:pt idx="200">
                  <c:v>91088</c:v>
                </c:pt>
                <c:pt idx="201">
                  <c:v>91324</c:v>
                </c:pt>
                <c:pt idx="202">
                  <c:v>91544</c:v>
                </c:pt>
                <c:pt idx="203">
                  <c:v>91785</c:v>
                </c:pt>
                <c:pt idx="204">
                  <c:v>92034</c:v>
                </c:pt>
                <c:pt idx="205">
                  <c:v>92285</c:v>
                </c:pt>
                <c:pt idx="206">
                  <c:v>92395</c:v>
                </c:pt>
                <c:pt idx="207">
                  <c:v>92464</c:v>
                </c:pt>
                <c:pt idx="208">
                  <c:v>92668</c:v>
                </c:pt>
                <c:pt idx="209">
                  <c:v>92828</c:v>
                </c:pt>
                <c:pt idx="210">
                  <c:v>93049</c:v>
                </c:pt>
                <c:pt idx="211">
                  <c:v>93229</c:v>
                </c:pt>
                <c:pt idx="212">
                  <c:v>93442</c:v>
                </c:pt>
                <c:pt idx="213">
                  <c:v>93504</c:v>
                </c:pt>
                <c:pt idx="214">
                  <c:v>93559</c:v>
                </c:pt>
                <c:pt idx="215">
                  <c:v>93741</c:v>
                </c:pt>
                <c:pt idx="216">
                  <c:v>93940</c:v>
                </c:pt>
                <c:pt idx="217">
                  <c:v>94117</c:v>
                </c:pt>
                <c:pt idx="218">
                  <c:v>94277</c:v>
                </c:pt>
                <c:pt idx="219">
                  <c:v>94489</c:v>
                </c:pt>
                <c:pt idx="220">
                  <c:v>94555</c:v>
                </c:pt>
                <c:pt idx="221">
                  <c:v>94605</c:v>
                </c:pt>
                <c:pt idx="222">
                  <c:v>94752</c:v>
                </c:pt>
                <c:pt idx="223">
                  <c:v>94882</c:v>
                </c:pt>
                <c:pt idx="224">
                  <c:v>95027</c:v>
                </c:pt>
                <c:pt idx="225">
                  <c:v>95154</c:v>
                </c:pt>
                <c:pt idx="226">
                  <c:v>95284</c:v>
                </c:pt>
                <c:pt idx="227">
                  <c:v>95322</c:v>
                </c:pt>
                <c:pt idx="228">
                  <c:v>95356</c:v>
                </c:pt>
                <c:pt idx="229">
                  <c:v>95460</c:v>
                </c:pt>
                <c:pt idx="230">
                  <c:v>95576</c:v>
                </c:pt>
                <c:pt idx="231">
                  <c:v>95649</c:v>
                </c:pt>
                <c:pt idx="232">
                  <c:v>95754</c:v>
                </c:pt>
                <c:pt idx="233">
                  <c:v>95858</c:v>
                </c:pt>
                <c:pt idx="234">
                  <c:v>95884</c:v>
                </c:pt>
                <c:pt idx="235">
                  <c:v>95903</c:v>
                </c:pt>
                <c:pt idx="236">
                  <c:v>95984</c:v>
                </c:pt>
                <c:pt idx="237">
                  <c:v>96063</c:v>
                </c:pt>
                <c:pt idx="238">
                  <c:v>96146</c:v>
                </c:pt>
                <c:pt idx="239">
                  <c:v>96218</c:v>
                </c:pt>
                <c:pt idx="240">
                  <c:v>96316</c:v>
                </c:pt>
                <c:pt idx="241">
                  <c:v>96334</c:v>
                </c:pt>
                <c:pt idx="242">
                  <c:v>96353</c:v>
                </c:pt>
                <c:pt idx="243">
                  <c:v>96447</c:v>
                </c:pt>
                <c:pt idx="244">
                  <c:v>96522</c:v>
                </c:pt>
                <c:pt idx="245">
                  <c:v>96599</c:v>
                </c:pt>
                <c:pt idx="246">
                  <c:v>96662</c:v>
                </c:pt>
                <c:pt idx="247">
                  <c:v>96765</c:v>
                </c:pt>
                <c:pt idx="248">
                  <c:v>96791</c:v>
                </c:pt>
                <c:pt idx="249">
                  <c:v>96801</c:v>
                </c:pt>
                <c:pt idx="250">
                  <c:v>96880</c:v>
                </c:pt>
                <c:pt idx="251">
                  <c:v>96959</c:v>
                </c:pt>
                <c:pt idx="252">
                  <c:v>97008</c:v>
                </c:pt>
                <c:pt idx="253">
                  <c:v>97081</c:v>
                </c:pt>
                <c:pt idx="254">
                  <c:v>97174</c:v>
                </c:pt>
                <c:pt idx="255">
                  <c:v>97189</c:v>
                </c:pt>
                <c:pt idx="256">
                  <c:v>97207</c:v>
                </c:pt>
                <c:pt idx="257">
                  <c:v>97271</c:v>
                </c:pt>
                <c:pt idx="258">
                  <c:v>97306</c:v>
                </c:pt>
                <c:pt idx="259">
                  <c:v>97359</c:v>
                </c:pt>
                <c:pt idx="260">
                  <c:v>97418</c:v>
                </c:pt>
                <c:pt idx="261">
                  <c:v>97488</c:v>
                </c:pt>
                <c:pt idx="262">
                  <c:v>97504</c:v>
                </c:pt>
                <c:pt idx="263">
                  <c:v>97517</c:v>
                </c:pt>
                <c:pt idx="264">
                  <c:v>97565</c:v>
                </c:pt>
                <c:pt idx="265">
                  <c:v>97616</c:v>
                </c:pt>
                <c:pt idx="266">
                  <c:v>97659</c:v>
                </c:pt>
                <c:pt idx="267">
                  <c:v>97705</c:v>
                </c:pt>
                <c:pt idx="268">
                  <c:v>97777</c:v>
                </c:pt>
                <c:pt idx="269">
                  <c:v>97796</c:v>
                </c:pt>
                <c:pt idx="270">
                  <c:v>97802</c:v>
                </c:pt>
                <c:pt idx="271">
                  <c:v>97846</c:v>
                </c:pt>
                <c:pt idx="272">
                  <c:v>97893</c:v>
                </c:pt>
                <c:pt idx="273">
                  <c:v>97936</c:v>
                </c:pt>
                <c:pt idx="274">
                  <c:v>97994</c:v>
                </c:pt>
                <c:pt idx="275">
                  <c:v>98063</c:v>
                </c:pt>
                <c:pt idx="276">
                  <c:v>98079</c:v>
                </c:pt>
                <c:pt idx="277">
                  <c:v>98085</c:v>
                </c:pt>
                <c:pt idx="278">
                  <c:v>98127</c:v>
                </c:pt>
                <c:pt idx="279">
                  <c:v>98133</c:v>
                </c:pt>
                <c:pt idx="280">
                  <c:v>98160</c:v>
                </c:pt>
                <c:pt idx="281">
                  <c:v>98206</c:v>
                </c:pt>
                <c:pt idx="282">
                  <c:v>98244</c:v>
                </c:pt>
                <c:pt idx="283">
                  <c:v>98252</c:v>
                </c:pt>
                <c:pt idx="284">
                  <c:v>98259</c:v>
                </c:pt>
                <c:pt idx="285">
                  <c:v>98289</c:v>
                </c:pt>
                <c:pt idx="286">
                  <c:v>98318</c:v>
                </c:pt>
                <c:pt idx="287">
                  <c:v>98356</c:v>
                </c:pt>
                <c:pt idx="288">
                  <c:v>98380</c:v>
                </c:pt>
                <c:pt idx="289">
                  <c:v>98428</c:v>
                </c:pt>
                <c:pt idx="290">
                  <c:v>98437</c:v>
                </c:pt>
                <c:pt idx="291">
                  <c:v>98444</c:v>
                </c:pt>
                <c:pt idx="292">
                  <c:v>98472</c:v>
                </c:pt>
                <c:pt idx="293">
                  <c:v>98518</c:v>
                </c:pt>
                <c:pt idx="294">
                  <c:v>98555</c:v>
                </c:pt>
                <c:pt idx="295">
                  <c:v>98583</c:v>
                </c:pt>
                <c:pt idx="296">
                  <c:v>98641</c:v>
                </c:pt>
                <c:pt idx="297">
                  <c:v>98658</c:v>
                </c:pt>
                <c:pt idx="298">
                  <c:v>98669</c:v>
                </c:pt>
                <c:pt idx="299">
                  <c:v>98727</c:v>
                </c:pt>
                <c:pt idx="300">
                  <c:v>98759</c:v>
                </c:pt>
                <c:pt idx="301">
                  <c:v>98818</c:v>
                </c:pt>
                <c:pt idx="302">
                  <c:v>98918</c:v>
                </c:pt>
                <c:pt idx="303">
                  <c:v>99062</c:v>
                </c:pt>
                <c:pt idx="304">
                  <c:v>99112</c:v>
                </c:pt>
                <c:pt idx="305">
                  <c:v>99146</c:v>
                </c:pt>
                <c:pt idx="306">
                  <c:v>99263</c:v>
                </c:pt>
                <c:pt idx="307">
                  <c:v>99420</c:v>
                </c:pt>
                <c:pt idx="308">
                  <c:v>99590</c:v>
                </c:pt>
                <c:pt idx="309">
                  <c:v>99630</c:v>
                </c:pt>
                <c:pt idx="310">
                  <c:v>99811</c:v>
                </c:pt>
                <c:pt idx="311">
                  <c:v>99861</c:v>
                </c:pt>
                <c:pt idx="312">
                  <c:v>99896</c:v>
                </c:pt>
                <c:pt idx="313">
                  <c:v>100100</c:v>
                </c:pt>
                <c:pt idx="314">
                  <c:v>100277</c:v>
                </c:pt>
                <c:pt idx="315">
                  <c:v>100469</c:v>
                </c:pt>
                <c:pt idx="316">
                  <c:v>100677</c:v>
                </c:pt>
                <c:pt idx="317">
                  <c:v>100927</c:v>
                </c:pt>
                <c:pt idx="318">
                  <c:v>101000</c:v>
                </c:pt>
                <c:pt idx="319">
                  <c:v>101043</c:v>
                </c:pt>
                <c:pt idx="320">
                  <c:v>101227</c:v>
                </c:pt>
                <c:pt idx="321">
                  <c:v>101377</c:v>
                </c:pt>
                <c:pt idx="322">
                  <c:v>101541</c:v>
                </c:pt>
                <c:pt idx="323">
                  <c:v>101729</c:v>
                </c:pt>
                <c:pt idx="324">
                  <c:v>101995</c:v>
                </c:pt>
                <c:pt idx="325">
                  <c:v>102049</c:v>
                </c:pt>
                <c:pt idx="326">
                  <c:v>102087</c:v>
                </c:pt>
                <c:pt idx="327">
                  <c:v>102270</c:v>
                </c:pt>
                <c:pt idx="328">
                  <c:v>102481</c:v>
                </c:pt>
                <c:pt idx="329">
                  <c:v>102520</c:v>
                </c:pt>
                <c:pt idx="330">
                  <c:v>102760</c:v>
                </c:pt>
                <c:pt idx="331">
                  <c:v>103039</c:v>
                </c:pt>
                <c:pt idx="332">
                  <c:v>103118</c:v>
                </c:pt>
                <c:pt idx="333">
                  <c:v>103182</c:v>
                </c:pt>
                <c:pt idx="334">
                  <c:v>103369</c:v>
                </c:pt>
                <c:pt idx="335">
                  <c:v>103562</c:v>
                </c:pt>
                <c:pt idx="336">
                  <c:v>103763</c:v>
                </c:pt>
                <c:pt idx="337">
                  <c:v>103974</c:v>
                </c:pt>
                <c:pt idx="338">
                  <c:v>104194</c:v>
                </c:pt>
                <c:pt idx="339">
                  <c:v>104272</c:v>
                </c:pt>
                <c:pt idx="340">
                  <c:v>104295</c:v>
                </c:pt>
                <c:pt idx="341">
                  <c:v>104465</c:v>
                </c:pt>
                <c:pt idx="342">
                  <c:v>104612</c:v>
                </c:pt>
                <c:pt idx="343">
                  <c:v>104773</c:v>
                </c:pt>
                <c:pt idx="344">
                  <c:v>104885</c:v>
                </c:pt>
                <c:pt idx="345">
                  <c:v>105004</c:v>
                </c:pt>
                <c:pt idx="346">
                  <c:v>105026</c:v>
                </c:pt>
                <c:pt idx="347">
                  <c:v>105033</c:v>
                </c:pt>
                <c:pt idx="348">
                  <c:v>105105</c:v>
                </c:pt>
                <c:pt idx="349">
                  <c:v>105182</c:v>
                </c:pt>
                <c:pt idx="350">
                  <c:v>105270</c:v>
                </c:pt>
                <c:pt idx="351">
                  <c:v>105344</c:v>
                </c:pt>
                <c:pt idx="352">
                  <c:v>105431</c:v>
                </c:pt>
                <c:pt idx="353">
                  <c:v>105449</c:v>
                </c:pt>
                <c:pt idx="354">
                  <c:v>105462</c:v>
                </c:pt>
                <c:pt idx="355">
                  <c:v>105538</c:v>
                </c:pt>
                <c:pt idx="356">
                  <c:v>105611</c:v>
                </c:pt>
                <c:pt idx="357">
                  <c:v>105657</c:v>
                </c:pt>
                <c:pt idx="358">
                  <c:v>105731</c:v>
                </c:pt>
                <c:pt idx="359">
                  <c:v>105821</c:v>
                </c:pt>
                <c:pt idx="360">
                  <c:v>105847</c:v>
                </c:pt>
                <c:pt idx="361">
                  <c:v>105856</c:v>
                </c:pt>
                <c:pt idx="362">
                  <c:v>105912</c:v>
                </c:pt>
                <c:pt idx="363">
                  <c:v>105970</c:v>
                </c:pt>
                <c:pt idx="364">
                  <c:v>106009</c:v>
                </c:pt>
                <c:pt idx="365">
                  <c:v>106019</c:v>
                </c:pt>
                <c:pt idx="366">
                  <c:v>106019</c:v>
                </c:pt>
                <c:pt idx="367">
                  <c:v>106047</c:v>
                </c:pt>
                <c:pt idx="368">
                  <c:v>106076</c:v>
                </c:pt>
                <c:pt idx="369">
                  <c:v>106102</c:v>
                </c:pt>
                <c:pt idx="370">
                  <c:v>106135</c:v>
                </c:pt>
                <c:pt idx="371">
                  <c:v>106137</c:v>
                </c:pt>
                <c:pt idx="372">
                  <c:v>106140</c:v>
                </c:pt>
                <c:pt idx="373">
                  <c:v>106172</c:v>
                </c:pt>
                <c:pt idx="374">
                  <c:v>106214</c:v>
                </c:pt>
                <c:pt idx="375">
                  <c:v>106248</c:v>
                </c:pt>
                <c:pt idx="376">
                  <c:v>106299</c:v>
                </c:pt>
                <c:pt idx="377">
                  <c:v>106376</c:v>
                </c:pt>
                <c:pt idx="378">
                  <c:v>106387</c:v>
                </c:pt>
                <c:pt idx="379">
                  <c:v>106399</c:v>
                </c:pt>
                <c:pt idx="380">
                  <c:v>106437</c:v>
                </c:pt>
                <c:pt idx="381">
                  <c:v>106476</c:v>
                </c:pt>
                <c:pt idx="382">
                  <c:v>106523</c:v>
                </c:pt>
                <c:pt idx="383">
                  <c:v>106571</c:v>
                </c:pt>
                <c:pt idx="384">
                  <c:v>106631</c:v>
                </c:pt>
                <c:pt idx="385">
                  <c:v>106651</c:v>
                </c:pt>
                <c:pt idx="386">
                  <c:v>106661</c:v>
                </c:pt>
                <c:pt idx="387">
                  <c:v>106700</c:v>
                </c:pt>
                <c:pt idx="388">
                  <c:v>106748</c:v>
                </c:pt>
                <c:pt idx="389">
                  <c:v>106775</c:v>
                </c:pt>
                <c:pt idx="390">
                  <c:v>106800</c:v>
                </c:pt>
                <c:pt idx="391">
                  <c:v>106850</c:v>
                </c:pt>
                <c:pt idx="392">
                  <c:v>106854</c:v>
                </c:pt>
                <c:pt idx="393">
                  <c:v>106859</c:v>
                </c:pt>
                <c:pt idx="394">
                  <c:v>106880</c:v>
                </c:pt>
                <c:pt idx="395">
                  <c:v>106899</c:v>
                </c:pt>
                <c:pt idx="396">
                  <c:v>106921</c:v>
                </c:pt>
                <c:pt idx="397">
                  <c:v>106938</c:v>
                </c:pt>
                <c:pt idx="398">
                  <c:v>106964</c:v>
                </c:pt>
                <c:pt idx="399">
                  <c:v>106970</c:v>
                </c:pt>
                <c:pt idx="400">
                  <c:v>106972</c:v>
                </c:pt>
                <c:pt idx="401">
                  <c:v>106979</c:v>
                </c:pt>
                <c:pt idx="402">
                  <c:v>106989</c:v>
                </c:pt>
                <c:pt idx="403">
                  <c:v>107000</c:v>
                </c:pt>
                <c:pt idx="404">
                  <c:v>107008</c:v>
                </c:pt>
                <c:pt idx="405">
                  <c:v>107020</c:v>
                </c:pt>
                <c:pt idx="406">
                  <c:v>107021</c:v>
                </c:pt>
                <c:pt idx="407">
                  <c:v>107022</c:v>
                </c:pt>
                <c:pt idx="408">
                  <c:v>107029</c:v>
                </c:pt>
                <c:pt idx="409">
                  <c:v>107036</c:v>
                </c:pt>
                <c:pt idx="410">
                  <c:v>107041</c:v>
                </c:pt>
                <c:pt idx="411">
                  <c:v>107046</c:v>
                </c:pt>
                <c:pt idx="412">
                  <c:v>107060</c:v>
                </c:pt>
                <c:pt idx="413">
                  <c:v>107061</c:v>
                </c:pt>
                <c:pt idx="414">
                  <c:v>107061</c:v>
                </c:pt>
                <c:pt idx="415">
                  <c:v>107063</c:v>
                </c:pt>
                <c:pt idx="416">
                  <c:v>107068</c:v>
                </c:pt>
                <c:pt idx="417">
                  <c:v>107074</c:v>
                </c:pt>
                <c:pt idx="418">
                  <c:v>107075</c:v>
                </c:pt>
                <c:pt idx="419">
                  <c:v>107076</c:v>
                </c:pt>
                <c:pt idx="420">
                  <c:v>1070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E$1:$PI$1</c:f>
              <c:strCache>
                <c:ptCount val="421"/>
                <c:pt idx="0">
                  <c:v>23-XII.20</c:v>
                </c:pt>
                <c:pt idx="1">
                  <c:v>24-XII.20</c:v>
                </c:pt>
                <c:pt idx="2">
                  <c:v>25-XII.20</c:v>
                </c:pt>
                <c:pt idx="3">
                  <c:v>26-XII.20</c:v>
                </c:pt>
                <c:pt idx="4">
                  <c:v>27.XII.20</c:v>
                </c:pt>
                <c:pt idx="5">
                  <c:v>28.XII.20</c:v>
                </c:pt>
                <c:pt idx="6">
                  <c:v>29.XII.20</c:v>
                </c:pt>
                <c:pt idx="7">
                  <c:v>30.XII.20</c:v>
                </c:pt>
                <c:pt idx="8">
                  <c:v>31.XII.20</c:v>
                </c:pt>
                <c:pt idx="9">
                  <c:v>1.I.21</c:v>
                </c:pt>
                <c:pt idx="10">
                  <c:v>2.I.21</c:v>
                </c:pt>
                <c:pt idx="11">
                  <c:v>3.I.21</c:v>
                </c:pt>
                <c:pt idx="12">
                  <c:v>4.I.21</c:v>
                </c:pt>
                <c:pt idx="13">
                  <c:v>5.I.21</c:v>
                </c:pt>
                <c:pt idx="14">
                  <c:v>6.I.21</c:v>
                </c:pt>
                <c:pt idx="15">
                  <c:v>7.I.21</c:v>
                </c:pt>
                <c:pt idx="16">
                  <c:v>8.I.21</c:v>
                </c:pt>
                <c:pt idx="17">
                  <c:v>9.I.21</c:v>
                </c:pt>
                <c:pt idx="18">
                  <c:v>10.I.21</c:v>
                </c:pt>
                <c:pt idx="19">
                  <c:v>11.I.21</c:v>
                </c:pt>
                <c:pt idx="20">
                  <c:v>12.I.21</c:v>
                </c:pt>
                <c:pt idx="21">
                  <c:v>13.I.21</c:v>
                </c:pt>
                <c:pt idx="22">
                  <c:v>14.I.21</c:v>
                </c:pt>
                <c:pt idx="23">
                  <c:v>15.I.21</c:v>
                </c:pt>
                <c:pt idx="24">
                  <c:v>16.I.21</c:v>
                </c:pt>
                <c:pt idx="25">
                  <c:v>17.I.21</c:v>
                </c:pt>
                <c:pt idx="26">
                  <c:v>18.I.21</c:v>
                </c:pt>
                <c:pt idx="27">
                  <c:v>19.I.21</c:v>
                </c:pt>
                <c:pt idx="28">
                  <c:v>20.I.21</c:v>
                </c:pt>
                <c:pt idx="29">
                  <c:v>21.I.21</c:v>
                </c:pt>
                <c:pt idx="30">
                  <c:v>22.I.21</c:v>
                </c:pt>
                <c:pt idx="31">
                  <c:v>23.I.21</c:v>
                </c:pt>
                <c:pt idx="32">
                  <c:v>24.I.21</c:v>
                </c:pt>
                <c:pt idx="33">
                  <c:v>25.I.21</c:v>
                </c:pt>
                <c:pt idx="34">
                  <c:v>26.I.21</c:v>
                </c:pt>
                <c:pt idx="35">
                  <c:v>27.I.21</c:v>
                </c:pt>
                <c:pt idx="36">
                  <c:v>28.I.21</c:v>
                </c:pt>
                <c:pt idx="37">
                  <c:v>29.I.21</c:v>
                </c:pt>
                <c:pt idx="38">
                  <c:v>30.I.21</c:v>
                </c:pt>
                <c:pt idx="39">
                  <c:v>31.I.21</c:v>
                </c:pt>
                <c:pt idx="40">
                  <c:v>1.II.21</c:v>
                </c:pt>
                <c:pt idx="41">
                  <c:v>2.II.21</c:v>
                </c:pt>
                <c:pt idx="42">
                  <c:v>3.II.21</c:v>
                </c:pt>
                <c:pt idx="43">
                  <c:v>4.II.21</c:v>
                </c:pt>
                <c:pt idx="44">
                  <c:v>5.II.21</c:v>
                </c:pt>
                <c:pt idx="45">
                  <c:v>6.II.21</c:v>
                </c:pt>
                <c:pt idx="46">
                  <c:v>7.II.21</c:v>
                </c:pt>
                <c:pt idx="47">
                  <c:v>8.II.21</c:v>
                </c:pt>
                <c:pt idx="48">
                  <c:v>9.II.21</c:v>
                </c:pt>
                <c:pt idx="49">
                  <c:v>10.II.21</c:v>
                </c:pt>
                <c:pt idx="50">
                  <c:v>11.II.21</c:v>
                </c:pt>
                <c:pt idx="51">
                  <c:v>12.II.21</c:v>
                </c:pt>
                <c:pt idx="52">
                  <c:v>13.II.21</c:v>
                </c:pt>
                <c:pt idx="53">
                  <c:v>14.II.21</c:v>
                </c:pt>
                <c:pt idx="54">
                  <c:v>15.II.21</c:v>
                </c:pt>
                <c:pt idx="55">
                  <c:v>16.II.21</c:v>
                </c:pt>
                <c:pt idx="56">
                  <c:v>17.II.21</c:v>
                </c:pt>
                <c:pt idx="57">
                  <c:v>18.II.21</c:v>
                </c:pt>
                <c:pt idx="58">
                  <c:v>19.II.21</c:v>
                </c:pt>
                <c:pt idx="59">
                  <c:v>20.II.21</c:v>
                </c:pt>
                <c:pt idx="60">
                  <c:v>21.II.21</c:v>
                </c:pt>
                <c:pt idx="61">
                  <c:v>22.II.21</c:v>
                </c:pt>
                <c:pt idx="62">
                  <c:v>23.II.21</c:v>
                </c:pt>
                <c:pt idx="63">
                  <c:v>24.II.21</c:v>
                </c:pt>
                <c:pt idx="64">
                  <c:v>25.II.21</c:v>
                </c:pt>
                <c:pt idx="65">
                  <c:v>26.II.21</c:v>
                </c:pt>
                <c:pt idx="66">
                  <c:v>27.II.21</c:v>
                </c:pt>
                <c:pt idx="67">
                  <c:v>28.II.21</c:v>
                </c:pt>
                <c:pt idx="68">
                  <c:v>1.III.21</c:v>
                </c:pt>
                <c:pt idx="69">
                  <c:v>2.III.21</c:v>
                </c:pt>
                <c:pt idx="70">
                  <c:v>3.III.21</c:v>
                </c:pt>
                <c:pt idx="71">
                  <c:v>4.III.21</c:v>
                </c:pt>
                <c:pt idx="72">
                  <c:v>5.III.21</c:v>
                </c:pt>
                <c:pt idx="73">
                  <c:v>6.III.21</c:v>
                </c:pt>
                <c:pt idx="74">
                  <c:v>7.III.21</c:v>
                </c:pt>
                <c:pt idx="75">
                  <c:v>8.III.21</c:v>
                </c:pt>
                <c:pt idx="76">
                  <c:v>9.III.21</c:v>
                </c:pt>
                <c:pt idx="77">
                  <c:v>10.III.21</c:v>
                </c:pt>
                <c:pt idx="78">
                  <c:v>11.III.21</c:v>
                </c:pt>
                <c:pt idx="79">
                  <c:v>12.III.21</c:v>
                </c:pt>
                <c:pt idx="80">
                  <c:v>13.III.21</c:v>
                </c:pt>
                <c:pt idx="81">
                  <c:v>14.III.21</c:v>
                </c:pt>
                <c:pt idx="82">
                  <c:v>15.III.21</c:v>
                </c:pt>
                <c:pt idx="83">
                  <c:v>16.III.21</c:v>
                </c:pt>
                <c:pt idx="84">
                  <c:v>17.III.21</c:v>
                </c:pt>
                <c:pt idx="85">
                  <c:v>18.III.21</c:v>
                </c:pt>
                <c:pt idx="86">
                  <c:v>19.III.21</c:v>
                </c:pt>
                <c:pt idx="87">
                  <c:v>20.III.21</c:v>
                </c:pt>
                <c:pt idx="88">
                  <c:v>21.III.21</c:v>
                </c:pt>
                <c:pt idx="89">
                  <c:v>22.III.21</c:v>
                </c:pt>
                <c:pt idx="90">
                  <c:v>23.III.21</c:v>
                </c:pt>
                <c:pt idx="91">
                  <c:v>24.III.21</c:v>
                </c:pt>
                <c:pt idx="92">
                  <c:v>25.III.21</c:v>
                </c:pt>
                <c:pt idx="93">
                  <c:v>26.III.21</c:v>
                </c:pt>
                <c:pt idx="94">
                  <c:v>27.III.21</c:v>
                </c:pt>
                <c:pt idx="95">
                  <c:v>28.III.21</c:v>
                </c:pt>
                <c:pt idx="96">
                  <c:v>29.III.21</c:v>
                </c:pt>
                <c:pt idx="97">
                  <c:v>30.III.21</c:v>
                </c:pt>
                <c:pt idx="98">
                  <c:v>31.III.21</c:v>
                </c:pt>
                <c:pt idx="99">
                  <c:v>1.IV.21</c:v>
                </c:pt>
                <c:pt idx="100">
                  <c:v>2.IV.21</c:v>
                </c:pt>
                <c:pt idx="101">
                  <c:v>3.IV.21</c:v>
                </c:pt>
                <c:pt idx="102">
                  <c:v>4.IV.21</c:v>
                </c:pt>
                <c:pt idx="103">
                  <c:v>5.IV.21</c:v>
                </c:pt>
                <c:pt idx="104">
                  <c:v>6.IV.21</c:v>
                </c:pt>
                <c:pt idx="105">
                  <c:v>7.IV.21</c:v>
                </c:pt>
                <c:pt idx="106">
                  <c:v>8.IV.21</c:v>
                </c:pt>
                <c:pt idx="107">
                  <c:v>9.IV.21</c:v>
                </c:pt>
                <c:pt idx="108">
                  <c:v>10.IV.21</c:v>
                </c:pt>
                <c:pt idx="109">
                  <c:v>11.IV.21</c:v>
                </c:pt>
                <c:pt idx="110">
                  <c:v>12.IV.21</c:v>
                </c:pt>
                <c:pt idx="111">
                  <c:v>13.IV.21</c:v>
                </c:pt>
                <c:pt idx="112">
                  <c:v>14.IV.21</c:v>
                </c:pt>
                <c:pt idx="113">
                  <c:v>15.IV.21</c:v>
                </c:pt>
                <c:pt idx="114">
                  <c:v>16.IV.21</c:v>
                </c:pt>
                <c:pt idx="115">
                  <c:v>17.IV.21</c:v>
                </c:pt>
                <c:pt idx="116">
                  <c:v>18.IV.21</c:v>
                </c:pt>
                <c:pt idx="117">
                  <c:v>19.IV.21</c:v>
                </c:pt>
                <c:pt idx="118">
                  <c:v>20.IV.21</c:v>
                </c:pt>
                <c:pt idx="119">
                  <c:v>21.IV.21</c:v>
                </c:pt>
                <c:pt idx="120">
                  <c:v>22.IV.21</c:v>
                </c:pt>
                <c:pt idx="121">
                  <c:v>23.IV.21</c:v>
                </c:pt>
                <c:pt idx="122">
                  <c:v>24.IV.21</c:v>
                </c:pt>
                <c:pt idx="123">
                  <c:v>25.IV.21</c:v>
                </c:pt>
                <c:pt idx="124">
                  <c:v>26.IV.21</c:v>
                </c:pt>
                <c:pt idx="125">
                  <c:v>27.IV.21</c:v>
                </c:pt>
                <c:pt idx="126">
                  <c:v>28.IV.21</c:v>
                </c:pt>
                <c:pt idx="127">
                  <c:v>29.IV.21</c:v>
                </c:pt>
                <c:pt idx="128">
                  <c:v>30.IV.21</c:v>
                </c:pt>
                <c:pt idx="129">
                  <c:v>1.V.21</c:v>
                </c:pt>
                <c:pt idx="130">
                  <c:v>2.V.21</c:v>
                </c:pt>
                <c:pt idx="131">
                  <c:v>3.V.21</c:v>
                </c:pt>
                <c:pt idx="132">
                  <c:v>4.V.21</c:v>
                </c:pt>
                <c:pt idx="133">
                  <c:v>5.V.21</c:v>
                </c:pt>
                <c:pt idx="134">
                  <c:v>6.V.21</c:v>
                </c:pt>
                <c:pt idx="135">
                  <c:v>7.V.21</c:v>
                </c:pt>
                <c:pt idx="136">
                  <c:v>8.V.21</c:v>
                </c:pt>
                <c:pt idx="137">
                  <c:v>9.V.21</c:v>
                </c:pt>
                <c:pt idx="138">
                  <c:v>10.V.21</c:v>
                </c:pt>
                <c:pt idx="139">
                  <c:v>11.V.21</c:v>
                </c:pt>
                <c:pt idx="140">
                  <c:v>12.V.21</c:v>
                </c:pt>
                <c:pt idx="141">
                  <c:v>13.V.21</c:v>
                </c:pt>
                <c:pt idx="142">
                  <c:v>14.V.21</c:v>
                </c:pt>
                <c:pt idx="143">
                  <c:v>15.V.21</c:v>
                </c:pt>
                <c:pt idx="144">
                  <c:v>16.V.21</c:v>
                </c:pt>
                <c:pt idx="145">
                  <c:v>17.V.21</c:v>
                </c:pt>
                <c:pt idx="146">
                  <c:v>18.V.21</c:v>
                </c:pt>
                <c:pt idx="147">
                  <c:v>19.V.21</c:v>
                </c:pt>
                <c:pt idx="148">
                  <c:v>20.V.21</c:v>
                </c:pt>
                <c:pt idx="149">
                  <c:v>21.V.21</c:v>
                </c:pt>
                <c:pt idx="150">
                  <c:v>22.V.21</c:v>
                </c:pt>
                <c:pt idx="151">
                  <c:v>23.V.21</c:v>
                </c:pt>
                <c:pt idx="152">
                  <c:v>24.V.21</c:v>
                </c:pt>
                <c:pt idx="153">
                  <c:v>25.V.21</c:v>
                </c:pt>
                <c:pt idx="154">
                  <c:v>26.V.21</c:v>
                </c:pt>
                <c:pt idx="155">
                  <c:v>27.V.21</c:v>
                </c:pt>
                <c:pt idx="156">
                  <c:v>28.V.21</c:v>
                </c:pt>
                <c:pt idx="157">
                  <c:v>29.V.21</c:v>
                </c:pt>
                <c:pt idx="158">
                  <c:v>30.V.21</c:v>
                </c:pt>
                <c:pt idx="159">
                  <c:v>31.V.21</c:v>
                </c:pt>
                <c:pt idx="160">
                  <c:v>1.VI.21</c:v>
                </c:pt>
                <c:pt idx="161">
                  <c:v>2.VI.21</c:v>
                </c:pt>
                <c:pt idx="162">
                  <c:v>3.VI.21</c:v>
                </c:pt>
                <c:pt idx="163">
                  <c:v>4.VI.21</c:v>
                </c:pt>
                <c:pt idx="164">
                  <c:v>5.VI.21</c:v>
                </c:pt>
                <c:pt idx="165">
                  <c:v>6.VI.21</c:v>
                </c:pt>
                <c:pt idx="166">
                  <c:v>7.VI.21</c:v>
                </c:pt>
                <c:pt idx="167">
                  <c:v>8.VI.21</c:v>
                </c:pt>
                <c:pt idx="168">
                  <c:v>9.VI.21</c:v>
                </c:pt>
                <c:pt idx="169">
                  <c:v>10.VI.21</c:v>
                </c:pt>
                <c:pt idx="170">
                  <c:v>11.VI.21</c:v>
                </c:pt>
                <c:pt idx="171">
                  <c:v>12.VI.21</c:v>
                </c:pt>
                <c:pt idx="172">
                  <c:v>13.VI.21</c:v>
                </c:pt>
                <c:pt idx="173">
                  <c:v>14.VI.21</c:v>
                </c:pt>
                <c:pt idx="174">
                  <c:v>15.VI.21</c:v>
                </c:pt>
                <c:pt idx="175">
                  <c:v>16.VI.21</c:v>
                </c:pt>
                <c:pt idx="176">
                  <c:v>17.VI.21</c:v>
                </c:pt>
                <c:pt idx="177">
                  <c:v>18.VI.21</c:v>
                </c:pt>
                <c:pt idx="178">
                  <c:v>19.VI.21</c:v>
                </c:pt>
                <c:pt idx="179">
                  <c:v>20.VI.21</c:v>
                </c:pt>
                <c:pt idx="180">
                  <c:v>21.VI.21</c:v>
                </c:pt>
                <c:pt idx="181">
                  <c:v>22.VI.21</c:v>
                </c:pt>
                <c:pt idx="182">
                  <c:v>23.VI.21</c:v>
                </c:pt>
                <c:pt idx="183">
                  <c:v>24.VI.21</c:v>
                </c:pt>
                <c:pt idx="184">
                  <c:v>25.VI.21</c:v>
                </c:pt>
                <c:pt idx="185">
                  <c:v>26.VI.21</c:v>
                </c:pt>
                <c:pt idx="186">
                  <c:v>27.VI.21</c:v>
                </c:pt>
                <c:pt idx="187">
                  <c:v>28.VI.21</c:v>
                </c:pt>
                <c:pt idx="188">
                  <c:v>29.VI.21</c:v>
                </c:pt>
                <c:pt idx="189">
                  <c:v>30.VI.21</c:v>
                </c:pt>
                <c:pt idx="190">
                  <c:v>1.VII.21</c:v>
                </c:pt>
                <c:pt idx="191">
                  <c:v>2.VII.21</c:v>
                </c:pt>
                <c:pt idx="192">
                  <c:v>3.VII.21</c:v>
                </c:pt>
                <c:pt idx="193">
                  <c:v>4.VII.21</c:v>
                </c:pt>
                <c:pt idx="194">
                  <c:v>5.VII.21</c:v>
                </c:pt>
                <c:pt idx="195">
                  <c:v>6.VII.21</c:v>
                </c:pt>
                <c:pt idx="196">
                  <c:v>7.VII.21</c:v>
                </c:pt>
                <c:pt idx="197">
                  <c:v>8.VII.21</c:v>
                </c:pt>
                <c:pt idx="198">
                  <c:v>9.VII.21</c:v>
                </c:pt>
                <c:pt idx="199">
                  <c:v>10.VII.21</c:v>
                </c:pt>
                <c:pt idx="200">
                  <c:v>11.VII.21</c:v>
                </c:pt>
                <c:pt idx="201">
                  <c:v>12.VII.21</c:v>
                </c:pt>
                <c:pt idx="202">
                  <c:v>13.VII.21</c:v>
                </c:pt>
                <c:pt idx="203">
                  <c:v>14.VII.21</c:v>
                </c:pt>
                <c:pt idx="204">
                  <c:v>15.VII.21</c:v>
                </c:pt>
                <c:pt idx="205">
                  <c:v>16.VII.21</c:v>
                </c:pt>
                <c:pt idx="206">
                  <c:v>17.VII.21</c:v>
                </c:pt>
                <c:pt idx="207">
                  <c:v>18.VII.21</c:v>
                </c:pt>
                <c:pt idx="208">
                  <c:v>19.VII.21</c:v>
                </c:pt>
                <c:pt idx="209">
                  <c:v>20.VII.21</c:v>
                </c:pt>
                <c:pt idx="210">
                  <c:v>21.VII.21</c:v>
                </c:pt>
                <c:pt idx="211">
                  <c:v>22.VII.21</c:v>
                </c:pt>
                <c:pt idx="212">
                  <c:v>23.VII.21</c:v>
                </c:pt>
                <c:pt idx="213">
                  <c:v>24.VII.21</c:v>
                </c:pt>
                <c:pt idx="214">
                  <c:v>25.VII.21</c:v>
                </c:pt>
                <c:pt idx="215">
                  <c:v>26.VII.21</c:v>
                </c:pt>
                <c:pt idx="216">
                  <c:v>27.VII.21</c:v>
                </c:pt>
                <c:pt idx="217">
                  <c:v>28.VII.21</c:v>
                </c:pt>
                <c:pt idx="218">
                  <c:v>29.VII.21</c:v>
                </c:pt>
                <c:pt idx="219">
                  <c:v>30.VII.21</c:v>
                </c:pt>
                <c:pt idx="220">
                  <c:v>31.VII.21</c:v>
                </c:pt>
                <c:pt idx="221">
                  <c:v>1.VIII.21</c:v>
                </c:pt>
                <c:pt idx="222">
                  <c:v>2.VIII.21</c:v>
                </c:pt>
                <c:pt idx="223">
                  <c:v>3.VIII.21</c:v>
                </c:pt>
                <c:pt idx="224">
                  <c:v>4.VIII.21</c:v>
                </c:pt>
                <c:pt idx="225">
                  <c:v>5.VIII.21</c:v>
                </c:pt>
                <c:pt idx="226">
                  <c:v>6.VIII.21</c:v>
                </c:pt>
                <c:pt idx="227">
                  <c:v>7.VIII.21</c:v>
                </c:pt>
                <c:pt idx="228">
                  <c:v>8.VIII.21</c:v>
                </c:pt>
                <c:pt idx="229">
                  <c:v>9.VIII.21</c:v>
                </c:pt>
                <c:pt idx="230">
                  <c:v>10.VIII.21</c:v>
                </c:pt>
                <c:pt idx="231">
                  <c:v>11.VIII.21</c:v>
                </c:pt>
                <c:pt idx="232">
                  <c:v>12.VIII.21</c:v>
                </c:pt>
                <c:pt idx="233">
                  <c:v>13.VIII.21</c:v>
                </c:pt>
                <c:pt idx="234">
                  <c:v>14.VIII.21</c:v>
                </c:pt>
                <c:pt idx="235">
                  <c:v>15.VIII.21</c:v>
                </c:pt>
                <c:pt idx="236">
                  <c:v>16.VIII.21</c:v>
                </c:pt>
                <c:pt idx="237">
                  <c:v>17.VIII.21</c:v>
                </c:pt>
                <c:pt idx="238">
                  <c:v>18.VIII.21</c:v>
                </c:pt>
                <c:pt idx="239">
                  <c:v>19.VIII.21</c:v>
                </c:pt>
                <c:pt idx="240">
                  <c:v>20.VIII.21</c:v>
                </c:pt>
                <c:pt idx="241">
                  <c:v>21.VIII.21</c:v>
                </c:pt>
                <c:pt idx="242">
                  <c:v>22.VIII.21</c:v>
                </c:pt>
                <c:pt idx="243">
                  <c:v>23.VIII.21</c:v>
                </c:pt>
                <c:pt idx="244">
                  <c:v>24.VIII.21</c:v>
                </c:pt>
                <c:pt idx="245">
                  <c:v>25.VIII.21</c:v>
                </c:pt>
                <c:pt idx="246">
                  <c:v>26.VIII.21</c:v>
                </c:pt>
                <c:pt idx="247">
                  <c:v>27.VIII.21</c:v>
                </c:pt>
                <c:pt idx="248">
                  <c:v>28.VIII.21</c:v>
                </c:pt>
                <c:pt idx="249">
                  <c:v>29.VIII.21</c:v>
                </c:pt>
                <c:pt idx="250">
                  <c:v>30.VIII.21</c:v>
                </c:pt>
                <c:pt idx="251">
                  <c:v>31.VIII.21</c:v>
                </c:pt>
                <c:pt idx="252">
                  <c:v>1.IX.21</c:v>
                </c:pt>
                <c:pt idx="253">
                  <c:v>2.IX.21</c:v>
                </c:pt>
                <c:pt idx="254">
                  <c:v>3.IX.21</c:v>
                </c:pt>
                <c:pt idx="255">
                  <c:v>4.IX.21</c:v>
                </c:pt>
                <c:pt idx="256">
                  <c:v>5.IX.21</c:v>
                </c:pt>
                <c:pt idx="257">
                  <c:v>6.IX.21</c:v>
                </c:pt>
                <c:pt idx="258">
                  <c:v>7.IX.21</c:v>
                </c:pt>
                <c:pt idx="259">
                  <c:v>8.IX.21</c:v>
                </c:pt>
                <c:pt idx="260">
                  <c:v>9.IX.21</c:v>
                </c:pt>
                <c:pt idx="261">
                  <c:v>10.IX.21</c:v>
                </c:pt>
                <c:pt idx="262">
                  <c:v>11.IX.21</c:v>
                </c:pt>
                <c:pt idx="263">
                  <c:v>12.IX.21</c:v>
                </c:pt>
                <c:pt idx="264">
                  <c:v>13.IX.21</c:v>
                </c:pt>
                <c:pt idx="265">
                  <c:v>14.IX.21</c:v>
                </c:pt>
                <c:pt idx="266">
                  <c:v>15.IX.21</c:v>
                </c:pt>
                <c:pt idx="267">
                  <c:v>16.IX.21</c:v>
                </c:pt>
                <c:pt idx="268">
                  <c:v>17.IX.21</c:v>
                </c:pt>
                <c:pt idx="269">
                  <c:v>18.IX.21</c:v>
                </c:pt>
                <c:pt idx="270">
                  <c:v>19.IX.21</c:v>
                </c:pt>
                <c:pt idx="271">
                  <c:v>20.IX.21</c:v>
                </c:pt>
                <c:pt idx="272">
                  <c:v>21.IX.21</c:v>
                </c:pt>
                <c:pt idx="273">
                  <c:v>22.IX.21</c:v>
                </c:pt>
                <c:pt idx="274">
                  <c:v>23.IX.21</c:v>
                </c:pt>
                <c:pt idx="275">
                  <c:v>24.IX.21</c:v>
                </c:pt>
                <c:pt idx="276">
                  <c:v>25.IX.21</c:v>
                </c:pt>
                <c:pt idx="277">
                  <c:v>26.IX.21</c:v>
                </c:pt>
                <c:pt idx="278">
                  <c:v>27.IX.21</c:v>
                </c:pt>
                <c:pt idx="279">
                  <c:v>28.IX.21</c:v>
                </c:pt>
                <c:pt idx="280">
                  <c:v>29.IX.21</c:v>
                </c:pt>
                <c:pt idx="281">
                  <c:v>30.IX.21</c:v>
                </c:pt>
                <c:pt idx="282">
                  <c:v>1.X.21</c:v>
                </c:pt>
                <c:pt idx="283">
                  <c:v>2.X.21</c:v>
                </c:pt>
                <c:pt idx="284">
                  <c:v>3.X.21</c:v>
                </c:pt>
                <c:pt idx="285">
                  <c:v>4.X.21</c:v>
                </c:pt>
                <c:pt idx="286">
                  <c:v>5.X.21</c:v>
                </c:pt>
                <c:pt idx="287">
                  <c:v>6.X.21</c:v>
                </c:pt>
                <c:pt idx="288">
                  <c:v>7.X.21</c:v>
                </c:pt>
                <c:pt idx="289">
                  <c:v>8.X.21</c:v>
                </c:pt>
                <c:pt idx="290">
                  <c:v>9.X.21</c:v>
                </c:pt>
                <c:pt idx="291">
                  <c:v>10.X.21</c:v>
                </c:pt>
                <c:pt idx="292">
                  <c:v>11.X.21</c:v>
                </c:pt>
                <c:pt idx="293">
                  <c:v>12.X.21</c:v>
                </c:pt>
                <c:pt idx="294">
                  <c:v>13.X.21</c:v>
                </c:pt>
                <c:pt idx="295">
                  <c:v>14.X.21</c:v>
                </c:pt>
                <c:pt idx="296">
                  <c:v>15.X.21</c:v>
                </c:pt>
                <c:pt idx="297">
                  <c:v>16.X.21</c:v>
                </c:pt>
                <c:pt idx="298">
                  <c:v>17.X.21</c:v>
                </c:pt>
                <c:pt idx="299">
                  <c:v>18.X.21</c:v>
                </c:pt>
                <c:pt idx="300">
                  <c:v>19.X.21</c:v>
                </c:pt>
                <c:pt idx="301">
                  <c:v>20.X.21</c:v>
                </c:pt>
                <c:pt idx="302">
                  <c:v>21.X.21</c:v>
                </c:pt>
                <c:pt idx="303">
                  <c:v>22.X.21</c:v>
                </c:pt>
                <c:pt idx="304">
                  <c:v>23.X.21</c:v>
                </c:pt>
                <c:pt idx="305">
                  <c:v>24.X.21</c:v>
                </c:pt>
                <c:pt idx="306">
                  <c:v>25.X.21</c:v>
                </c:pt>
                <c:pt idx="307">
                  <c:v>26.X.21</c:v>
                </c:pt>
                <c:pt idx="308">
                  <c:v>27.X.21</c:v>
                </c:pt>
                <c:pt idx="309">
                  <c:v>28.X.21</c:v>
                </c:pt>
                <c:pt idx="310">
                  <c:v>29.X.21</c:v>
                </c:pt>
                <c:pt idx="311">
                  <c:v>30.X.21</c:v>
                </c:pt>
                <c:pt idx="312">
                  <c:v>31.X.21</c:v>
                </c:pt>
                <c:pt idx="313">
                  <c:v>1.XI.21</c:v>
                </c:pt>
                <c:pt idx="314">
                  <c:v>2.XI.21</c:v>
                </c:pt>
                <c:pt idx="315">
                  <c:v>3.XI.21</c:v>
                </c:pt>
                <c:pt idx="316">
                  <c:v>4.XI.21</c:v>
                </c:pt>
                <c:pt idx="317">
                  <c:v>5.XI.21</c:v>
                </c:pt>
                <c:pt idx="318">
                  <c:v>6.XI.21</c:v>
                </c:pt>
                <c:pt idx="319">
                  <c:v>7.XI.21</c:v>
                </c:pt>
                <c:pt idx="320">
                  <c:v>8.XI.21</c:v>
                </c:pt>
                <c:pt idx="321">
                  <c:v>9.XI.21</c:v>
                </c:pt>
                <c:pt idx="322">
                  <c:v>10.XI.21</c:v>
                </c:pt>
                <c:pt idx="323">
                  <c:v>11.XI.21</c:v>
                </c:pt>
                <c:pt idx="324">
                  <c:v>12.XI.21</c:v>
                </c:pt>
                <c:pt idx="325">
                  <c:v>13.XI.21</c:v>
                </c:pt>
                <c:pt idx="326">
                  <c:v>14.XI.21</c:v>
                </c:pt>
                <c:pt idx="327">
                  <c:v>15.XI.21</c:v>
                </c:pt>
                <c:pt idx="328">
                  <c:v>16.XI.21</c:v>
                </c:pt>
                <c:pt idx="329">
                  <c:v>17.XI.21</c:v>
                </c:pt>
                <c:pt idx="330">
                  <c:v>18.XI.21</c:v>
                </c:pt>
                <c:pt idx="331">
                  <c:v>19.XI.21</c:v>
                </c:pt>
                <c:pt idx="332">
                  <c:v>20.XI.21</c:v>
                </c:pt>
                <c:pt idx="333">
                  <c:v>21.XI.21</c:v>
                </c:pt>
                <c:pt idx="334">
                  <c:v>22.XI.21</c:v>
                </c:pt>
                <c:pt idx="335">
                  <c:v>23.XI.21</c:v>
                </c:pt>
                <c:pt idx="336">
                  <c:v>24.XI.21</c:v>
                </c:pt>
                <c:pt idx="337">
                  <c:v>25.XI.21</c:v>
                </c:pt>
                <c:pt idx="338">
                  <c:v>26.XI.21</c:v>
                </c:pt>
                <c:pt idx="339">
                  <c:v>27.XI.21</c:v>
                </c:pt>
                <c:pt idx="340">
                  <c:v>28.XI.21</c:v>
                </c:pt>
                <c:pt idx="341">
                  <c:v>29.XI.21</c:v>
                </c:pt>
                <c:pt idx="342">
                  <c:v>30.XI.21</c:v>
                </c:pt>
                <c:pt idx="343">
                  <c:v>1.XII.21</c:v>
                </c:pt>
                <c:pt idx="344">
                  <c:v>2.XII.21</c:v>
                </c:pt>
                <c:pt idx="345">
                  <c:v>3.XII.21</c:v>
                </c:pt>
                <c:pt idx="346">
                  <c:v>4.XII.21</c:v>
                </c:pt>
                <c:pt idx="347">
                  <c:v>5.XII.21</c:v>
                </c:pt>
                <c:pt idx="348">
                  <c:v>6.XII.21</c:v>
                </c:pt>
                <c:pt idx="349">
                  <c:v>7.XII.21</c:v>
                </c:pt>
                <c:pt idx="350">
                  <c:v>8.XII.21</c:v>
                </c:pt>
                <c:pt idx="351">
                  <c:v>9.XII.21</c:v>
                </c:pt>
                <c:pt idx="352">
                  <c:v>10.XII.21</c:v>
                </c:pt>
                <c:pt idx="353">
                  <c:v>11.XII.21</c:v>
                </c:pt>
                <c:pt idx="354">
                  <c:v>12.XII.21</c:v>
                </c:pt>
                <c:pt idx="355">
                  <c:v>13.XII.21</c:v>
                </c:pt>
                <c:pt idx="356">
                  <c:v>14.XII.21</c:v>
                </c:pt>
                <c:pt idx="357">
                  <c:v>15.XII.21</c:v>
                </c:pt>
                <c:pt idx="358">
                  <c:v>16.XII.21</c:v>
                </c:pt>
                <c:pt idx="359">
                  <c:v>17.XII.21</c:v>
                </c:pt>
                <c:pt idx="360">
                  <c:v>18.XII.21</c:v>
                </c:pt>
                <c:pt idx="361">
                  <c:v>19.XII.21</c:v>
                </c:pt>
                <c:pt idx="362">
                  <c:v>20.XII.21</c:v>
                </c:pt>
                <c:pt idx="363">
                  <c:v>21.XII.21</c:v>
                </c:pt>
                <c:pt idx="364">
                  <c:v>22.XII.21</c:v>
                </c:pt>
                <c:pt idx="365">
                  <c:v>23.XII.21</c:v>
                </c:pt>
                <c:pt idx="366">
                  <c:v>24.XII.21</c:v>
                </c:pt>
                <c:pt idx="367">
                  <c:v>27.XII.21</c:v>
                </c:pt>
                <c:pt idx="368">
                  <c:v>28.XII.21</c:v>
                </c:pt>
                <c:pt idx="369">
                  <c:v>29.XII.21</c:v>
                </c:pt>
                <c:pt idx="370">
                  <c:v>30.XII.21</c:v>
                </c:pt>
                <c:pt idx="371">
                  <c:v>31.XII.21</c:v>
                </c:pt>
                <c:pt idx="372">
                  <c:v>2.I.22</c:v>
                </c:pt>
                <c:pt idx="373">
                  <c:v>3.I.22</c:v>
                </c:pt>
                <c:pt idx="374">
                  <c:v>4.I.22</c:v>
                </c:pt>
                <c:pt idx="375">
                  <c:v>5.I.22</c:v>
                </c:pt>
                <c:pt idx="376">
                  <c:v>6.I.22</c:v>
                </c:pt>
                <c:pt idx="377">
                  <c:v>7.I.22</c:v>
                </c:pt>
                <c:pt idx="378">
                  <c:v>8.I.22</c:v>
                </c:pt>
                <c:pt idx="379">
                  <c:v>9.I.22</c:v>
                </c:pt>
                <c:pt idx="380">
                  <c:v>10.I.22</c:v>
                </c:pt>
                <c:pt idx="381">
                  <c:v>11.I.22</c:v>
                </c:pt>
                <c:pt idx="382">
                  <c:v>12.I.22</c:v>
                </c:pt>
                <c:pt idx="383">
                  <c:v>13.I.22</c:v>
                </c:pt>
                <c:pt idx="384">
                  <c:v>14.I.22</c:v>
                </c:pt>
                <c:pt idx="385">
                  <c:v>15.I.22</c:v>
                </c:pt>
                <c:pt idx="386">
                  <c:v>16.I.22</c:v>
                </c:pt>
                <c:pt idx="387">
                  <c:v>17.I.22</c:v>
                </c:pt>
                <c:pt idx="388">
                  <c:v>18.I.22</c:v>
                </c:pt>
                <c:pt idx="389">
                  <c:v>19.I.22</c:v>
                </c:pt>
                <c:pt idx="390">
                  <c:v>20.I.22</c:v>
                </c:pt>
                <c:pt idx="391">
                  <c:v>21.I.22</c:v>
                </c:pt>
                <c:pt idx="392">
                  <c:v>22.I.22</c:v>
                </c:pt>
                <c:pt idx="393">
                  <c:v>23.I.22</c:v>
                </c:pt>
                <c:pt idx="394">
                  <c:v>24.I.22</c:v>
                </c:pt>
                <c:pt idx="395">
                  <c:v>25.I.22</c:v>
                </c:pt>
                <c:pt idx="396">
                  <c:v>26.I.22</c:v>
                </c:pt>
                <c:pt idx="397">
                  <c:v>27.I.22</c:v>
                </c:pt>
                <c:pt idx="398">
                  <c:v>28.I.22</c:v>
                </c:pt>
                <c:pt idx="399">
                  <c:v>29.I.22</c:v>
                </c:pt>
                <c:pt idx="400">
                  <c:v>30.I.22</c:v>
                </c:pt>
                <c:pt idx="401">
                  <c:v>31.I.22</c:v>
                </c:pt>
                <c:pt idx="402">
                  <c:v>1.II.22</c:v>
                </c:pt>
                <c:pt idx="403">
                  <c:v>2.II.22</c:v>
                </c:pt>
                <c:pt idx="404">
                  <c:v>3.II.22</c:v>
                </c:pt>
                <c:pt idx="405">
                  <c:v>4.II.22</c:v>
                </c:pt>
                <c:pt idx="406">
                  <c:v>5.II.22</c:v>
                </c:pt>
                <c:pt idx="407">
                  <c:v>6.II.22</c:v>
                </c:pt>
                <c:pt idx="408">
                  <c:v>7.II.22</c:v>
                </c:pt>
                <c:pt idx="409">
                  <c:v>8.II.22</c:v>
                </c:pt>
                <c:pt idx="410">
                  <c:v>9.II.22</c:v>
                </c:pt>
                <c:pt idx="411">
                  <c:v>10.II.22</c:v>
                </c:pt>
                <c:pt idx="412">
                  <c:v>11.II.22</c:v>
                </c:pt>
                <c:pt idx="413">
                  <c:v>12.II.22</c:v>
                </c:pt>
                <c:pt idx="414">
                  <c:v>13.II.22</c:v>
                </c:pt>
                <c:pt idx="415">
                  <c:v>14.II.22</c:v>
                </c:pt>
                <c:pt idx="416">
                  <c:v>15.II.22</c:v>
                </c:pt>
                <c:pt idx="417">
                  <c:v>16.II.22</c:v>
                </c:pt>
                <c:pt idx="418">
                  <c:v>17.II.22</c:v>
                </c:pt>
                <c:pt idx="419">
                  <c:v>18.II.22</c:v>
                </c:pt>
                <c:pt idx="420">
                  <c:v>19.II.22</c:v>
                </c:pt>
              </c:strCache>
            </c:strRef>
          </c:cat>
          <c:val>
            <c:numRef>
              <c:f>List1!$E$5:$PI$5</c:f>
              <c:numCache>
                <c:formatCode>General</c:formatCode>
                <c:ptCount val="421"/>
                <c:pt idx="4">
                  <c:v>448</c:v>
                </c:pt>
                <c:pt idx="5">
                  <c:v>1180</c:v>
                </c:pt>
                <c:pt idx="6">
                  <c:v>2128</c:v>
                </c:pt>
                <c:pt idx="7">
                  <c:v>3068</c:v>
                </c:pt>
                <c:pt idx="8">
                  <c:v>3404</c:v>
                </c:pt>
                <c:pt idx="9">
                  <c:v>3493</c:v>
                </c:pt>
                <c:pt idx="10">
                  <c:v>3884</c:v>
                </c:pt>
                <c:pt idx="11">
                  <c:v>4197</c:v>
                </c:pt>
                <c:pt idx="12">
                  <c:v>5391</c:v>
                </c:pt>
                <c:pt idx="13">
                  <c:v>6703</c:v>
                </c:pt>
                <c:pt idx="14">
                  <c:v>8200</c:v>
                </c:pt>
                <c:pt idx="15">
                  <c:v>9874</c:v>
                </c:pt>
                <c:pt idx="16">
                  <c:v>11683</c:v>
                </c:pt>
                <c:pt idx="17">
                  <c:v>12091</c:v>
                </c:pt>
                <c:pt idx="18">
                  <c:v>12383</c:v>
                </c:pt>
                <c:pt idx="19">
                  <c:v>14130</c:v>
                </c:pt>
                <c:pt idx="20">
                  <c:v>16075</c:v>
                </c:pt>
                <c:pt idx="21">
                  <c:v>17774</c:v>
                </c:pt>
                <c:pt idx="22">
                  <c:v>19674</c:v>
                </c:pt>
                <c:pt idx="23">
                  <c:v>21473</c:v>
                </c:pt>
                <c:pt idx="24">
                  <c:v>21808</c:v>
                </c:pt>
                <c:pt idx="25">
                  <c:v>22033</c:v>
                </c:pt>
                <c:pt idx="26">
                  <c:v>23574</c:v>
                </c:pt>
                <c:pt idx="27">
                  <c:v>24726</c:v>
                </c:pt>
                <c:pt idx="28">
                  <c:v>25838</c:v>
                </c:pt>
                <c:pt idx="29">
                  <c:v>26830</c:v>
                </c:pt>
                <c:pt idx="30">
                  <c:v>27658</c:v>
                </c:pt>
                <c:pt idx="31">
                  <c:v>27827</c:v>
                </c:pt>
                <c:pt idx="32">
                  <c:v>27909</c:v>
                </c:pt>
                <c:pt idx="33">
                  <c:v>28420</c:v>
                </c:pt>
                <c:pt idx="34">
                  <c:v>28959</c:v>
                </c:pt>
                <c:pt idx="35">
                  <c:v>29358</c:v>
                </c:pt>
                <c:pt idx="36">
                  <c:v>29734</c:v>
                </c:pt>
                <c:pt idx="37">
                  <c:v>30067</c:v>
                </c:pt>
                <c:pt idx="38">
                  <c:v>30092</c:v>
                </c:pt>
                <c:pt idx="39">
                  <c:v>30113</c:v>
                </c:pt>
                <c:pt idx="40">
                  <c:v>30357</c:v>
                </c:pt>
                <c:pt idx="41">
                  <c:v>30593</c:v>
                </c:pt>
                <c:pt idx="42">
                  <c:v>30814</c:v>
                </c:pt>
                <c:pt idx="43">
                  <c:v>31009</c:v>
                </c:pt>
                <c:pt idx="44">
                  <c:v>31285</c:v>
                </c:pt>
                <c:pt idx="45">
                  <c:v>31305</c:v>
                </c:pt>
                <c:pt idx="46">
                  <c:v>31317</c:v>
                </c:pt>
                <c:pt idx="47">
                  <c:v>31451</c:v>
                </c:pt>
                <c:pt idx="48">
                  <c:v>31589</c:v>
                </c:pt>
                <c:pt idx="49">
                  <c:v>31784</c:v>
                </c:pt>
                <c:pt idx="50">
                  <c:v>32014</c:v>
                </c:pt>
                <c:pt idx="51">
                  <c:v>32292</c:v>
                </c:pt>
                <c:pt idx="52">
                  <c:v>32391</c:v>
                </c:pt>
                <c:pt idx="53">
                  <c:v>32455</c:v>
                </c:pt>
                <c:pt idx="54">
                  <c:v>32811</c:v>
                </c:pt>
                <c:pt idx="55">
                  <c:v>33108</c:v>
                </c:pt>
                <c:pt idx="56">
                  <c:v>33369</c:v>
                </c:pt>
                <c:pt idx="57">
                  <c:v>33707</c:v>
                </c:pt>
                <c:pt idx="58">
                  <c:v>34153</c:v>
                </c:pt>
                <c:pt idx="59">
                  <c:v>34259</c:v>
                </c:pt>
                <c:pt idx="60">
                  <c:v>34306</c:v>
                </c:pt>
                <c:pt idx="61">
                  <c:v>34615</c:v>
                </c:pt>
                <c:pt idx="62">
                  <c:v>35094</c:v>
                </c:pt>
                <c:pt idx="63">
                  <c:v>35692</c:v>
                </c:pt>
                <c:pt idx="64">
                  <c:v>36345</c:v>
                </c:pt>
                <c:pt idx="65">
                  <c:v>36887</c:v>
                </c:pt>
                <c:pt idx="66">
                  <c:v>36961</c:v>
                </c:pt>
                <c:pt idx="67">
                  <c:v>37004</c:v>
                </c:pt>
                <c:pt idx="68">
                  <c:v>37550</c:v>
                </c:pt>
                <c:pt idx="69">
                  <c:v>38145</c:v>
                </c:pt>
                <c:pt idx="70">
                  <c:v>38705</c:v>
                </c:pt>
                <c:pt idx="71">
                  <c:v>39248</c:v>
                </c:pt>
                <c:pt idx="72">
                  <c:v>39840</c:v>
                </c:pt>
                <c:pt idx="73">
                  <c:v>40007</c:v>
                </c:pt>
                <c:pt idx="74">
                  <c:v>40116</c:v>
                </c:pt>
                <c:pt idx="75">
                  <c:v>40443</c:v>
                </c:pt>
                <c:pt idx="76">
                  <c:v>40840</c:v>
                </c:pt>
                <c:pt idx="77">
                  <c:v>41242</c:v>
                </c:pt>
                <c:pt idx="78">
                  <c:v>41719</c:v>
                </c:pt>
                <c:pt idx="79">
                  <c:v>42123</c:v>
                </c:pt>
                <c:pt idx="80">
                  <c:v>42261</c:v>
                </c:pt>
                <c:pt idx="81">
                  <c:v>42346</c:v>
                </c:pt>
                <c:pt idx="82">
                  <c:v>42597</c:v>
                </c:pt>
                <c:pt idx="83">
                  <c:v>42958</c:v>
                </c:pt>
                <c:pt idx="84">
                  <c:v>43312</c:v>
                </c:pt>
                <c:pt idx="85">
                  <c:v>43666</c:v>
                </c:pt>
                <c:pt idx="86">
                  <c:v>43994</c:v>
                </c:pt>
                <c:pt idx="87">
                  <c:v>44109</c:v>
                </c:pt>
                <c:pt idx="88">
                  <c:v>44179</c:v>
                </c:pt>
                <c:pt idx="89">
                  <c:v>44351</c:v>
                </c:pt>
                <c:pt idx="90">
                  <c:v>44543</c:v>
                </c:pt>
                <c:pt idx="91">
                  <c:v>44690</c:v>
                </c:pt>
                <c:pt idx="92">
                  <c:v>44883</c:v>
                </c:pt>
                <c:pt idx="93">
                  <c:v>45101</c:v>
                </c:pt>
                <c:pt idx="94">
                  <c:v>45164</c:v>
                </c:pt>
                <c:pt idx="95">
                  <c:v>45205</c:v>
                </c:pt>
                <c:pt idx="96">
                  <c:v>45330</c:v>
                </c:pt>
                <c:pt idx="97">
                  <c:v>45490</c:v>
                </c:pt>
                <c:pt idx="98">
                  <c:v>45649</c:v>
                </c:pt>
                <c:pt idx="99">
                  <c:v>45868</c:v>
                </c:pt>
                <c:pt idx="100">
                  <c:v>45944</c:v>
                </c:pt>
                <c:pt idx="101">
                  <c:v>45964</c:v>
                </c:pt>
                <c:pt idx="102">
                  <c:v>45992</c:v>
                </c:pt>
                <c:pt idx="103">
                  <c:v>45999</c:v>
                </c:pt>
                <c:pt idx="104">
                  <c:v>46089</c:v>
                </c:pt>
                <c:pt idx="105">
                  <c:v>46183</c:v>
                </c:pt>
                <c:pt idx="106">
                  <c:v>46351</c:v>
                </c:pt>
                <c:pt idx="107">
                  <c:v>46551</c:v>
                </c:pt>
                <c:pt idx="108">
                  <c:v>46596</c:v>
                </c:pt>
                <c:pt idx="109">
                  <c:v>46628</c:v>
                </c:pt>
                <c:pt idx="110">
                  <c:v>46764</c:v>
                </c:pt>
                <c:pt idx="111">
                  <c:v>46886</c:v>
                </c:pt>
                <c:pt idx="112">
                  <c:v>46991</c:v>
                </c:pt>
                <c:pt idx="113">
                  <c:v>47148</c:v>
                </c:pt>
                <c:pt idx="114">
                  <c:v>47323</c:v>
                </c:pt>
                <c:pt idx="115">
                  <c:v>47364</c:v>
                </c:pt>
                <c:pt idx="116">
                  <c:v>47419</c:v>
                </c:pt>
                <c:pt idx="117">
                  <c:v>47546</c:v>
                </c:pt>
                <c:pt idx="118">
                  <c:v>47665</c:v>
                </c:pt>
                <c:pt idx="119">
                  <c:v>47799</c:v>
                </c:pt>
                <c:pt idx="120">
                  <c:v>47945</c:v>
                </c:pt>
                <c:pt idx="121">
                  <c:v>48102</c:v>
                </c:pt>
                <c:pt idx="122">
                  <c:v>48158</c:v>
                </c:pt>
                <c:pt idx="123">
                  <c:v>48193</c:v>
                </c:pt>
                <c:pt idx="124">
                  <c:v>48305</c:v>
                </c:pt>
                <c:pt idx="125">
                  <c:v>48426</c:v>
                </c:pt>
                <c:pt idx="126">
                  <c:v>48545</c:v>
                </c:pt>
                <c:pt idx="127">
                  <c:v>48678</c:v>
                </c:pt>
                <c:pt idx="128">
                  <c:v>48817</c:v>
                </c:pt>
                <c:pt idx="129">
                  <c:v>48846</c:v>
                </c:pt>
                <c:pt idx="130">
                  <c:v>48875</c:v>
                </c:pt>
                <c:pt idx="131">
                  <c:v>48995</c:v>
                </c:pt>
                <c:pt idx="132">
                  <c:v>49120</c:v>
                </c:pt>
                <c:pt idx="133">
                  <c:v>49216</c:v>
                </c:pt>
                <c:pt idx="134">
                  <c:v>49332</c:v>
                </c:pt>
                <c:pt idx="135">
                  <c:v>49505</c:v>
                </c:pt>
                <c:pt idx="136">
                  <c:v>49567</c:v>
                </c:pt>
                <c:pt idx="137">
                  <c:v>49599</c:v>
                </c:pt>
                <c:pt idx="138">
                  <c:v>49698</c:v>
                </c:pt>
                <c:pt idx="139">
                  <c:v>49815</c:v>
                </c:pt>
                <c:pt idx="140">
                  <c:v>49945</c:v>
                </c:pt>
                <c:pt idx="141">
                  <c:v>50103</c:v>
                </c:pt>
                <c:pt idx="142">
                  <c:v>50229</c:v>
                </c:pt>
                <c:pt idx="143">
                  <c:v>50300</c:v>
                </c:pt>
                <c:pt idx="144">
                  <c:v>50332</c:v>
                </c:pt>
                <c:pt idx="145">
                  <c:v>50414</c:v>
                </c:pt>
                <c:pt idx="146">
                  <c:v>50506</c:v>
                </c:pt>
                <c:pt idx="147">
                  <c:v>50591</c:v>
                </c:pt>
                <c:pt idx="148">
                  <c:v>50691</c:v>
                </c:pt>
                <c:pt idx="149">
                  <c:v>50798</c:v>
                </c:pt>
                <c:pt idx="150">
                  <c:v>50828</c:v>
                </c:pt>
                <c:pt idx="151">
                  <c:v>50843</c:v>
                </c:pt>
                <c:pt idx="152">
                  <c:v>50892</c:v>
                </c:pt>
                <c:pt idx="153">
                  <c:v>50952</c:v>
                </c:pt>
                <c:pt idx="154">
                  <c:v>51044</c:v>
                </c:pt>
                <c:pt idx="155">
                  <c:v>51126</c:v>
                </c:pt>
                <c:pt idx="156">
                  <c:v>51230</c:v>
                </c:pt>
                <c:pt idx="157">
                  <c:v>51267</c:v>
                </c:pt>
                <c:pt idx="158">
                  <c:v>51300</c:v>
                </c:pt>
                <c:pt idx="159">
                  <c:v>51375</c:v>
                </c:pt>
                <c:pt idx="160">
                  <c:v>51455</c:v>
                </c:pt>
                <c:pt idx="161">
                  <c:v>51549</c:v>
                </c:pt>
                <c:pt idx="162">
                  <c:v>51620</c:v>
                </c:pt>
                <c:pt idx="163">
                  <c:v>51717</c:v>
                </c:pt>
                <c:pt idx="164">
                  <c:v>51744</c:v>
                </c:pt>
                <c:pt idx="165">
                  <c:v>51777</c:v>
                </c:pt>
                <c:pt idx="166">
                  <c:v>51857</c:v>
                </c:pt>
                <c:pt idx="167">
                  <c:v>51955</c:v>
                </c:pt>
                <c:pt idx="168">
                  <c:v>52041</c:v>
                </c:pt>
                <c:pt idx="169">
                  <c:v>52126</c:v>
                </c:pt>
                <c:pt idx="170">
                  <c:v>52220</c:v>
                </c:pt>
                <c:pt idx="171">
                  <c:v>52249</c:v>
                </c:pt>
                <c:pt idx="172">
                  <c:v>52279</c:v>
                </c:pt>
                <c:pt idx="173">
                  <c:v>52349</c:v>
                </c:pt>
                <c:pt idx="174">
                  <c:v>52403</c:v>
                </c:pt>
                <c:pt idx="175">
                  <c:v>52478</c:v>
                </c:pt>
                <c:pt idx="176">
                  <c:v>52556</c:v>
                </c:pt>
                <c:pt idx="177">
                  <c:v>52634</c:v>
                </c:pt>
                <c:pt idx="178">
                  <c:v>52662</c:v>
                </c:pt>
                <c:pt idx="179">
                  <c:v>52687</c:v>
                </c:pt>
                <c:pt idx="180">
                  <c:v>52726</c:v>
                </c:pt>
                <c:pt idx="181">
                  <c:v>52776</c:v>
                </c:pt>
                <c:pt idx="182">
                  <c:v>52831</c:v>
                </c:pt>
                <c:pt idx="183">
                  <c:v>52882</c:v>
                </c:pt>
                <c:pt idx="184">
                  <c:v>52939</c:v>
                </c:pt>
                <c:pt idx="185">
                  <c:v>52953</c:v>
                </c:pt>
                <c:pt idx="186">
                  <c:v>52965</c:v>
                </c:pt>
                <c:pt idx="187">
                  <c:v>53009</c:v>
                </c:pt>
                <c:pt idx="188">
                  <c:v>53054</c:v>
                </c:pt>
                <c:pt idx="189">
                  <c:v>53112</c:v>
                </c:pt>
                <c:pt idx="190">
                  <c:v>53156</c:v>
                </c:pt>
                <c:pt idx="191">
                  <c:v>53211</c:v>
                </c:pt>
                <c:pt idx="192">
                  <c:v>53223</c:v>
                </c:pt>
                <c:pt idx="193">
                  <c:v>53235</c:v>
                </c:pt>
                <c:pt idx="194">
                  <c:v>53241</c:v>
                </c:pt>
                <c:pt idx="195">
                  <c:v>53250</c:v>
                </c:pt>
                <c:pt idx="196">
                  <c:v>53290</c:v>
                </c:pt>
                <c:pt idx="197">
                  <c:v>53345</c:v>
                </c:pt>
                <c:pt idx="198">
                  <c:v>53393</c:v>
                </c:pt>
                <c:pt idx="199">
                  <c:v>53408</c:v>
                </c:pt>
                <c:pt idx="200">
                  <c:v>53422</c:v>
                </c:pt>
                <c:pt idx="201">
                  <c:v>53470</c:v>
                </c:pt>
                <c:pt idx="202">
                  <c:v>53513</c:v>
                </c:pt>
                <c:pt idx="203">
                  <c:v>53559</c:v>
                </c:pt>
                <c:pt idx="204">
                  <c:v>53619</c:v>
                </c:pt>
                <c:pt idx="205">
                  <c:v>53674</c:v>
                </c:pt>
                <c:pt idx="206">
                  <c:v>53696</c:v>
                </c:pt>
                <c:pt idx="207">
                  <c:v>53715</c:v>
                </c:pt>
                <c:pt idx="208">
                  <c:v>53764</c:v>
                </c:pt>
                <c:pt idx="209">
                  <c:v>53810</c:v>
                </c:pt>
                <c:pt idx="210">
                  <c:v>53879</c:v>
                </c:pt>
                <c:pt idx="211">
                  <c:v>53917</c:v>
                </c:pt>
                <c:pt idx="212">
                  <c:v>53950</c:v>
                </c:pt>
                <c:pt idx="213">
                  <c:v>53956</c:v>
                </c:pt>
                <c:pt idx="214">
                  <c:v>53965</c:v>
                </c:pt>
                <c:pt idx="215">
                  <c:v>54006</c:v>
                </c:pt>
                <c:pt idx="216">
                  <c:v>54057</c:v>
                </c:pt>
                <c:pt idx="217">
                  <c:v>54091</c:v>
                </c:pt>
                <c:pt idx="218">
                  <c:v>54119</c:v>
                </c:pt>
                <c:pt idx="219">
                  <c:v>54163</c:v>
                </c:pt>
                <c:pt idx="220">
                  <c:v>54180</c:v>
                </c:pt>
                <c:pt idx="221">
                  <c:v>54193</c:v>
                </c:pt>
                <c:pt idx="222">
                  <c:v>54230</c:v>
                </c:pt>
                <c:pt idx="223">
                  <c:v>54256</c:v>
                </c:pt>
                <c:pt idx="224">
                  <c:v>54296</c:v>
                </c:pt>
                <c:pt idx="225">
                  <c:v>54327</c:v>
                </c:pt>
                <c:pt idx="226">
                  <c:v>54360</c:v>
                </c:pt>
                <c:pt idx="227">
                  <c:v>54373</c:v>
                </c:pt>
                <c:pt idx="228">
                  <c:v>54378</c:v>
                </c:pt>
                <c:pt idx="229">
                  <c:v>54400</c:v>
                </c:pt>
                <c:pt idx="230">
                  <c:v>54415</c:v>
                </c:pt>
                <c:pt idx="231">
                  <c:v>54435</c:v>
                </c:pt>
                <c:pt idx="232">
                  <c:v>54458</c:v>
                </c:pt>
                <c:pt idx="233">
                  <c:v>54483</c:v>
                </c:pt>
                <c:pt idx="234">
                  <c:v>54493</c:v>
                </c:pt>
                <c:pt idx="235">
                  <c:v>54498</c:v>
                </c:pt>
                <c:pt idx="236">
                  <c:v>54515</c:v>
                </c:pt>
                <c:pt idx="237">
                  <c:v>54539</c:v>
                </c:pt>
                <c:pt idx="238">
                  <c:v>54562</c:v>
                </c:pt>
                <c:pt idx="239">
                  <c:v>54584</c:v>
                </c:pt>
                <c:pt idx="240">
                  <c:v>54617</c:v>
                </c:pt>
                <c:pt idx="241">
                  <c:v>54627</c:v>
                </c:pt>
                <c:pt idx="242">
                  <c:v>54630</c:v>
                </c:pt>
                <c:pt idx="243">
                  <c:v>54642</c:v>
                </c:pt>
                <c:pt idx="244">
                  <c:v>54670</c:v>
                </c:pt>
                <c:pt idx="245">
                  <c:v>54694</c:v>
                </c:pt>
                <c:pt idx="246">
                  <c:v>54721</c:v>
                </c:pt>
                <c:pt idx="247">
                  <c:v>54749</c:v>
                </c:pt>
                <c:pt idx="248">
                  <c:v>54751</c:v>
                </c:pt>
                <c:pt idx="249">
                  <c:v>54758</c:v>
                </c:pt>
                <c:pt idx="250">
                  <c:v>54780</c:v>
                </c:pt>
                <c:pt idx="251">
                  <c:v>54805</c:v>
                </c:pt>
                <c:pt idx="252">
                  <c:v>54825</c:v>
                </c:pt>
                <c:pt idx="253">
                  <c:v>54853</c:v>
                </c:pt>
                <c:pt idx="254">
                  <c:v>54879</c:v>
                </c:pt>
                <c:pt idx="255">
                  <c:v>54887</c:v>
                </c:pt>
                <c:pt idx="256">
                  <c:v>54892</c:v>
                </c:pt>
                <c:pt idx="257">
                  <c:v>54905</c:v>
                </c:pt>
                <c:pt idx="258">
                  <c:v>54918</c:v>
                </c:pt>
                <c:pt idx="259">
                  <c:v>54938</c:v>
                </c:pt>
                <c:pt idx="260">
                  <c:v>54966</c:v>
                </c:pt>
                <c:pt idx="261">
                  <c:v>54991</c:v>
                </c:pt>
                <c:pt idx="262">
                  <c:v>54993</c:v>
                </c:pt>
                <c:pt idx="263">
                  <c:v>54996</c:v>
                </c:pt>
                <c:pt idx="264">
                  <c:v>55015</c:v>
                </c:pt>
                <c:pt idx="265">
                  <c:v>55033</c:v>
                </c:pt>
                <c:pt idx="266">
                  <c:v>55048</c:v>
                </c:pt>
                <c:pt idx="267">
                  <c:v>55066</c:v>
                </c:pt>
                <c:pt idx="268">
                  <c:v>55091</c:v>
                </c:pt>
                <c:pt idx="269">
                  <c:v>55096</c:v>
                </c:pt>
                <c:pt idx="270">
                  <c:v>55096</c:v>
                </c:pt>
                <c:pt idx="271">
                  <c:v>55116</c:v>
                </c:pt>
                <c:pt idx="272">
                  <c:v>55124</c:v>
                </c:pt>
                <c:pt idx="273">
                  <c:v>55135</c:v>
                </c:pt>
                <c:pt idx="274">
                  <c:v>55158</c:v>
                </c:pt>
                <c:pt idx="275">
                  <c:v>55183</c:v>
                </c:pt>
                <c:pt idx="276">
                  <c:v>55189</c:v>
                </c:pt>
                <c:pt idx="277">
                  <c:v>55189</c:v>
                </c:pt>
                <c:pt idx="278">
                  <c:v>55201</c:v>
                </c:pt>
                <c:pt idx="279">
                  <c:v>55201</c:v>
                </c:pt>
                <c:pt idx="280">
                  <c:v>55218</c:v>
                </c:pt>
                <c:pt idx="281">
                  <c:v>55233</c:v>
                </c:pt>
                <c:pt idx="282">
                  <c:v>55253</c:v>
                </c:pt>
                <c:pt idx="283">
                  <c:v>55259</c:v>
                </c:pt>
                <c:pt idx="284">
                  <c:v>55259</c:v>
                </c:pt>
                <c:pt idx="285">
                  <c:v>55269</c:v>
                </c:pt>
                <c:pt idx="286">
                  <c:v>55276</c:v>
                </c:pt>
                <c:pt idx="287">
                  <c:v>55288</c:v>
                </c:pt>
                <c:pt idx="288">
                  <c:v>55306</c:v>
                </c:pt>
                <c:pt idx="289">
                  <c:v>55320</c:v>
                </c:pt>
                <c:pt idx="290">
                  <c:v>55326</c:v>
                </c:pt>
                <c:pt idx="291">
                  <c:v>55326</c:v>
                </c:pt>
                <c:pt idx="292">
                  <c:v>55345</c:v>
                </c:pt>
                <c:pt idx="293">
                  <c:v>55363</c:v>
                </c:pt>
                <c:pt idx="294">
                  <c:v>55370</c:v>
                </c:pt>
                <c:pt idx="295">
                  <c:v>55380</c:v>
                </c:pt>
                <c:pt idx="296">
                  <c:v>55397</c:v>
                </c:pt>
                <c:pt idx="297">
                  <c:v>55399</c:v>
                </c:pt>
                <c:pt idx="298">
                  <c:v>55401</c:v>
                </c:pt>
                <c:pt idx="299">
                  <c:v>55422</c:v>
                </c:pt>
                <c:pt idx="300">
                  <c:v>55429</c:v>
                </c:pt>
                <c:pt idx="301">
                  <c:v>55443</c:v>
                </c:pt>
                <c:pt idx="302">
                  <c:v>55468</c:v>
                </c:pt>
                <c:pt idx="303">
                  <c:v>55507</c:v>
                </c:pt>
                <c:pt idx="304">
                  <c:v>55514</c:v>
                </c:pt>
                <c:pt idx="305">
                  <c:v>55520</c:v>
                </c:pt>
                <c:pt idx="306">
                  <c:v>55541</c:v>
                </c:pt>
                <c:pt idx="307">
                  <c:v>55578</c:v>
                </c:pt>
                <c:pt idx="308">
                  <c:v>55625</c:v>
                </c:pt>
                <c:pt idx="309">
                  <c:v>55632</c:v>
                </c:pt>
                <c:pt idx="310">
                  <c:v>55666</c:v>
                </c:pt>
                <c:pt idx="311">
                  <c:v>55678</c:v>
                </c:pt>
                <c:pt idx="312">
                  <c:v>55681</c:v>
                </c:pt>
                <c:pt idx="313">
                  <c:v>55725</c:v>
                </c:pt>
                <c:pt idx="314">
                  <c:v>55765</c:v>
                </c:pt>
                <c:pt idx="315">
                  <c:v>55800</c:v>
                </c:pt>
                <c:pt idx="316">
                  <c:v>55858</c:v>
                </c:pt>
                <c:pt idx="317">
                  <c:v>55921</c:v>
                </c:pt>
                <c:pt idx="318">
                  <c:v>55945</c:v>
                </c:pt>
                <c:pt idx="319">
                  <c:v>55958</c:v>
                </c:pt>
                <c:pt idx="320">
                  <c:v>55988</c:v>
                </c:pt>
                <c:pt idx="321">
                  <c:v>56023</c:v>
                </c:pt>
                <c:pt idx="322">
                  <c:v>56056</c:v>
                </c:pt>
                <c:pt idx="323">
                  <c:v>56090</c:v>
                </c:pt>
                <c:pt idx="324">
                  <c:v>56154</c:v>
                </c:pt>
                <c:pt idx="325">
                  <c:v>56165</c:v>
                </c:pt>
                <c:pt idx="326">
                  <c:v>56174</c:v>
                </c:pt>
                <c:pt idx="327">
                  <c:v>56221</c:v>
                </c:pt>
                <c:pt idx="328">
                  <c:v>56276</c:v>
                </c:pt>
                <c:pt idx="329">
                  <c:v>56291</c:v>
                </c:pt>
                <c:pt idx="330">
                  <c:v>56336</c:v>
                </c:pt>
                <c:pt idx="331">
                  <c:v>56403</c:v>
                </c:pt>
                <c:pt idx="332">
                  <c:v>56429</c:v>
                </c:pt>
                <c:pt idx="333">
                  <c:v>56440</c:v>
                </c:pt>
                <c:pt idx="334">
                  <c:v>56488</c:v>
                </c:pt>
                <c:pt idx="335">
                  <c:v>56537</c:v>
                </c:pt>
                <c:pt idx="336">
                  <c:v>56573</c:v>
                </c:pt>
                <c:pt idx="337">
                  <c:v>56624</c:v>
                </c:pt>
                <c:pt idx="338">
                  <c:v>56685</c:v>
                </c:pt>
                <c:pt idx="339">
                  <c:v>56695</c:v>
                </c:pt>
                <c:pt idx="340">
                  <c:v>56700</c:v>
                </c:pt>
                <c:pt idx="341">
                  <c:v>56730</c:v>
                </c:pt>
                <c:pt idx="342">
                  <c:v>56758</c:v>
                </c:pt>
                <c:pt idx="343">
                  <c:v>56791</c:v>
                </c:pt>
                <c:pt idx="344">
                  <c:v>56817</c:v>
                </c:pt>
                <c:pt idx="345">
                  <c:v>56848</c:v>
                </c:pt>
                <c:pt idx="346">
                  <c:v>56852</c:v>
                </c:pt>
                <c:pt idx="347">
                  <c:v>56854</c:v>
                </c:pt>
                <c:pt idx="348">
                  <c:v>56873</c:v>
                </c:pt>
                <c:pt idx="349">
                  <c:v>56891</c:v>
                </c:pt>
                <c:pt idx="350">
                  <c:v>56915</c:v>
                </c:pt>
                <c:pt idx="351">
                  <c:v>56934</c:v>
                </c:pt>
                <c:pt idx="352">
                  <c:v>56953</c:v>
                </c:pt>
                <c:pt idx="353">
                  <c:v>56957</c:v>
                </c:pt>
                <c:pt idx="354">
                  <c:v>56959</c:v>
                </c:pt>
                <c:pt idx="355">
                  <c:v>56972</c:v>
                </c:pt>
                <c:pt idx="356">
                  <c:v>56983</c:v>
                </c:pt>
                <c:pt idx="357">
                  <c:v>56995</c:v>
                </c:pt>
                <c:pt idx="358">
                  <c:v>57012</c:v>
                </c:pt>
                <c:pt idx="359">
                  <c:v>57029</c:v>
                </c:pt>
                <c:pt idx="360">
                  <c:v>57033</c:v>
                </c:pt>
                <c:pt idx="361">
                  <c:v>57035</c:v>
                </c:pt>
                <c:pt idx="362">
                  <c:v>57044</c:v>
                </c:pt>
                <c:pt idx="363">
                  <c:v>57051</c:v>
                </c:pt>
                <c:pt idx="364">
                  <c:v>57064</c:v>
                </c:pt>
                <c:pt idx="365">
                  <c:v>57066</c:v>
                </c:pt>
                <c:pt idx="366">
                  <c:v>57067</c:v>
                </c:pt>
                <c:pt idx="367">
                  <c:v>57074</c:v>
                </c:pt>
                <c:pt idx="368">
                  <c:v>57079</c:v>
                </c:pt>
                <c:pt idx="369">
                  <c:v>57082</c:v>
                </c:pt>
                <c:pt idx="370">
                  <c:v>57088</c:v>
                </c:pt>
                <c:pt idx="371">
                  <c:v>57090</c:v>
                </c:pt>
                <c:pt idx="372">
                  <c:v>57091</c:v>
                </c:pt>
                <c:pt idx="373">
                  <c:v>57096</c:v>
                </c:pt>
                <c:pt idx="374">
                  <c:v>57102</c:v>
                </c:pt>
                <c:pt idx="375">
                  <c:v>57112</c:v>
                </c:pt>
                <c:pt idx="376">
                  <c:v>57121</c:v>
                </c:pt>
                <c:pt idx="377">
                  <c:v>57136</c:v>
                </c:pt>
                <c:pt idx="378">
                  <c:v>57139</c:v>
                </c:pt>
                <c:pt idx="379">
                  <c:v>57140</c:v>
                </c:pt>
                <c:pt idx="380">
                  <c:v>57148</c:v>
                </c:pt>
                <c:pt idx="381">
                  <c:v>57154</c:v>
                </c:pt>
                <c:pt idx="382">
                  <c:v>57166</c:v>
                </c:pt>
                <c:pt idx="383">
                  <c:v>57177</c:v>
                </c:pt>
                <c:pt idx="384">
                  <c:v>57189</c:v>
                </c:pt>
                <c:pt idx="385">
                  <c:v>57192</c:v>
                </c:pt>
                <c:pt idx="386">
                  <c:v>57192</c:v>
                </c:pt>
                <c:pt idx="387">
                  <c:v>57201</c:v>
                </c:pt>
                <c:pt idx="388">
                  <c:v>57209</c:v>
                </c:pt>
                <c:pt idx="389">
                  <c:v>57212</c:v>
                </c:pt>
                <c:pt idx="390">
                  <c:v>57220</c:v>
                </c:pt>
                <c:pt idx="391">
                  <c:v>57229</c:v>
                </c:pt>
                <c:pt idx="392">
                  <c:v>57230</c:v>
                </c:pt>
                <c:pt idx="393">
                  <c:v>57230</c:v>
                </c:pt>
                <c:pt idx="394">
                  <c:v>57234</c:v>
                </c:pt>
                <c:pt idx="395">
                  <c:v>57239</c:v>
                </c:pt>
                <c:pt idx="396">
                  <c:v>57245</c:v>
                </c:pt>
                <c:pt idx="397">
                  <c:v>57247</c:v>
                </c:pt>
                <c:pt idx="398">
                  <c:v>57255</c:v>
                </c:pt>
                <c:pt idx="399">
                  <c:v>57256</c:v>
                </c:pt>
                <c:pt idx="400">
                  <c:v>57256</c:v>
                </c:pt>
                <c:pt idx="401">
                  <c:v>57261</c:v>
                </c:pt>
                <c:pt idx="402">
                  <c:v>57263</c:v>
                </c:pt>
                <c:pt idx="403">
                  <c:v>57267</c:v>
                </c:pt>
                <c:pt idx="404">
                  <c:v>57269</c:v>
                </c:pt>
                <c:pt idx="405">
                  <c:v>57273</c:v>
                </c:pt>
                <c:pt idx="406">
                  <c:v>57273</c:v>
                </c:pt>
                <c:pt idx="407">
                  <c:v>57273</c:v>
                </c:pt>
                <c:pt idx="408">
                  <c:v>57274</c:v>
                </c:pt>
                <c:pt idx="409">
                  <c:v>57276</c:v>
                </c:pt>
                <c:pt idx="410">
                  <c:v>57279</c:v>
                </c:pt>
                <c:pt idx="411">
                  <c:v>57281</c:v>
                </c:pt>
                <c:pt idx="412">
                  <c:v>57285</c:v>
                </c:pt>
                <c:pt idx="413">
                  <c:v>57285</c:v>
                </c:pt>
                <c:pt idx="414">
                  <c:v>57286</c:v>
                </c:pt>
                <c:pt idx="415">
                  <c:v>57287</c:v>
                </c:pt>
                <c:pt idx="416">
                  <c:v>57287</c:v>
                </c:pt>
                <c:pt idx="417">
                  <c:v>57288</c:v>
                </c:pt>
                <c:pt idx="418">
                  <c:v>57289</c:v>
                </c:pt>
                <c:pt idx="419">
                  <c:v>57290</c:v>
                </c:pt>
                <c:pt idx="420">
                  <c:v>572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4648495541371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dLbl>
              <c:idx val="1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3F-421B-A24A-264CC3DD701B}"/>
                </c:ext>
              </c:extLst>
            </c:dLbl>
            <c:dLbl>
              <c:idx val="1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487-4B41-A7BA-23E0663C99CB}"/>
                </c:ext>
              </c:extLst>
            </c:dLbl>
            <c:dLbl>
              <c:idx val="1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87-4B41-A7BA-23E0663C99CB}"/>
                </c:ext>
              </c:extLst>
            </c:dLbl>
            <c:dLbl>
              <c:idx val="1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3F-421B-A24A-264CC3DD701B}"/>
                </c:ext>
              </c:extLst>
            </c:dLbl>
            <c:dLbl>
              <c:idx val="1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87-4B41-A7BA-23E0663C99CB}"/>
                </c:ext>
              </c:extLst>
            </c:dLbl>
            <c:dLbl>
              <c:idx val="1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3F-421B-A24A-264CC3DD701B}"/>
                </c:ext>
              </c:extLst>
            </c:dLbl>
            <c:dLbl>
              <c:idx val="1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87-4B41-A7BA-23E0663C99C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78</c:f>
              <c:numCache>
                <c:formatCode>m/d/yyyy</c:formatCode>
                <c:ptCount val="244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</c:numCache>
            </c:numRef>
          </c:cat>
          <c:val>
            <c:numRef>
              <c:f>Sheet1!$B$135:$B$378</c:f>
              <c:numCache>
                <c:formatCode>General</c:formatCode>
                <c:ptCount val="244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3</c:v>
                </c:pt>
                <c:pt idx="26">
                  <c:v>2</c:v>
                </c:pt>
                <c:pt idx="27">
                  <c:v>1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4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3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2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7</c:v>
                </c:pt>
                <c:pt idx="45">
                  <c:v>1</c:v>
                </c:pt>
                <c:pt idx="46">
                  <c:v>2</c:v>
                </c:pt>
                <c:pt idx="47">
                  <c:v>0</c:v>
                </c:pt>
                <c:pt idx="48">
                  <c:v>3</c:v>
                </c:pt>
                <c:pt idx="49">
                  <c:v>2</c:v>
                </c:pt>
                <c:pt idx="50">
                  <c:v>0</c:v>
                </c:pt>
                <c:pt idx="51">
                  <c:v>4</c:v>
                </c:pt>
                <c:pt idx="52">
                  <c:v>1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3</c:v>
                </c:pt>
                <c:pt idx="57">
                  <c:v>0</c:v>
                </c:pt>
                <c:pt idx="58">
                  <c:v>0</c:v>
                </c:pt>
                <c:pt idx="59">
                  <c:v>2</c:v>
                </c:pt>
                <c:pt idx="60">
                  <c:v>1</c:v>
                </c:pt>
                <c:pt idx="61">
                  <c:v>0</c:v>
                </c:pt>
                <c:pt idx="62">
                  <c:v>0</c:v>
                </c:pt>
                <c:pt idx="63">
                  <c:v>2</c:v>
                </c:pt>
                <c:pt idx="64">
                  <c:v>0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0</c:v>
                </c:pt>
                <c:pt idx="70">
                  <c:v>0</c:v>
                </c:pt>
                <c:pt idx="71">
                  <c:v>4</c:v>
                </c:pt>
                <c:pt idx="72">
                  <c:v>4</c:v>
                </c:pt>
                <c:pt idx="73">
                  <c:v>1</c:v>
                </c:pt>
                <c:pt idx="74">
                  <c:v>1</c:v>
                </c:pt>
                <c:pt idx="75">
                  <c:v>3</c:v>
                </c:pt>
                <c:pt idx="76">
                  <c:v>1</c:v>
                </c:pt>
                <c:pt idx="77">
                  <c:v>0</c:v>
                </c:pt>
                <c:pt idx="78">
                  <c:v>2</c:v>
                </c:pt>
                <c:pt idx="79">
                  <c:v>0</c:v>
                </c:pt>
                <c:pt idx="80">
                  <c:v>0</c:v>
                </c:pt>
                <c:pt idx="81">
                  <c:v>3</c:v>
                </c:pt>
                <c:pt idx="82">
                  <c:v>3</c:v>
                </c:pt>
                <c:pt idx="83">
                  <c:v>0</c:v>
                </c:pt>
                <c:pt idx="84">
                  <c:v>4</c:v>
                </c:pt>
                <c:pt idx="85">
                  <c:v>2</c:v>
                </c:pt>
                <c:pt idx="86">
                  <c:v>0</c:v>
                </c:pt>
                <c:pt idx="87">
                  <c:v>1</c:v>
                </c:pt>
                <c:pt idx="88">
                  <c:v>2</c:v>
                </c:pt>
                <c:pt idx="89">
                  <c:v>1</c:v>
                </c:pt>
                <c:pt idx="90">
                  <c:v>1</c:v>
                </c:pt>
                <c:pt idx="91">
                  <c:v>0</c:v>
                </c:pt>
                <c:pt idx="92">
                  <c:v>3</c:v>
                </c:pt>
                <c:pt idx="93">
                  <c:v>3</c:v>
                </c:pt>
                <c:pt idx="94">
                  <c:v>2</c:v>
                </c:pt>
                <c:pt idx="95">
                  <c:v>3</c:v>
                </c:pt>
                <c:pt idx="96">
                  <c:v>0</c:v>
                </c:pt>
                <c:pt idx="97">
                  <c:v>2</c:v>
                </c:pt>
                <c:pt idx="98">
                  <c:v>6</c:v>
                </c:pt>
                <c:pt idx="99">
                  <c:v>4</c:v>
                </c:pt>
                <c:pt idx="100">
                  <c:v>3</c:v>
                </c:pt>
                <c:pt idx="101">
                  <c:v>9</c:v>
                </c:pt>
                <c:pt idx="102">
                  <c:v>2</c:v>
                </c:pt>
                <c:pt idx="103">
                  <c:v>5</c:v>
                </c:pt>
                <c:pt idx="104">
                  <c:v>1</c:v>
                </c:pt>
                <c:pt idx="105">
                  <c:v>0</c:v>
                </c:pt>
                <c:pt idx="106">
                  <c:v>2</c:v>
                </c:pt>
                <c:pt idx="107">
                  <c:v>5</c:v>
                </c:pt>
                <c:pt idx="108">
                  <c:v>6</c:v>
                </c:pt>
                <c:pt idx="109">
                  <c:v>6</c:v>
                </c:pt>
                <c:pt idx="110">
                  <c:v>1</c:v>
                </c:pt>
                <c:pt idx="111">
                  <c:v>1</c:v>
                </c:pt>
                <c:pt idx="112">
                  <c:v>3</c:v>
                </c:pt>
                <c:pt idx="113">
                  <c:v>10</c:v>
                </c:pt>
                <c:pt idx="114">
                  <c:v>7</c:v>
                </c:pt>
                <c:pt idx="115">
                  <c:v>7</c:v>
                </c:pt>
                <c:pt idx="116">
                  <c:v>6</c:v>
                </c:pt>
                <c:pt idx="117">
                  <c:v>5</c:v>
                </c:pt>
                <c:pt idx="118">
                  <c:v>8</c:v>
                </c:pt>
                <c:pt idx="119">
                  <c:v>17</c:v>
                </c:pt>
                <c:pt idx="120">
                  <c:v>17</c:v>
                </c:pt>
                <c:pt idx="121">
                  <c:v>13</c:v>
                </c:pt>
                <c:pt idx="122">
                  <c:v>13</c:v>
                </c:pt>
                <c:pt idx="123">
                  <c:v>17</c:v>
                </c:pt>
                <c:pt idx="124">
                  <c:v>15</c:v>
                </c:pt>
                <c:pt idx="125">
                  <c:v>12</c:v>
                </c:pt>
                <c:pt idx="126">
                  <c:v>28</c:v>
                </c:pt>
                <c:pt idx="127">
                  <c:v>20</c:v>
                </c:pt>
                <c:pt idx="128">
                  <c:v>23</c:v>
                </c:pt>
                <c:pt idx="129">
                  <c:v>22</c:v>
                </c:pt>
                <c:pt idx="130">
                  <c:v>38</c:v>
                </c:pt>
                <c:pt idx="131">
                  <c:v>22</c:v>
                </c:pt>
                <c:pt idx="132">
                  <c:v>18</c:v>
                </c:pt>
                <c:pt idx="133">
                  <c:v>57</c:v>
                </c:pt>
                <c:pt idx="134">
                  <c:v>39</c:v>
                </c:pt>
                <c:pt idx="135">
                  <c:v>39</c:v>
                </c:pt>
                <c:pt idx="136">
                  <c:v>27</c:v>
                </c:pt>
                <c:pt idx="137">
                  <c:v>41</c:v>
                </c:pt>
                <c:pt idx="138">
                  <c:v>21</c:v>
                </c:pt>
                <c:pt idx="139">
                  <c:v>19</c:v>
                </c:pt>
                <c:pt idx="140">
                  <c:v>53</c:v>
                </c:pt>
                <c:pt idx="141">
                  <c:v>46</c:v>
                </c:pt>
                <c:pt idx="142">
                  <c:v>48</c:v>
                </c:pt>
                <c:pt idx="143">
                  <c:v>50</c:v>
                </c:pt>
                <c:pt idx="144">
                  <c:v>45</c:v>
                </c:pt>
                <c:pt idx="145">
                  <c:v>50</c:v>
                </c:pt>
                <c:pt idx="146">
                  <c:v>23</c:v>
                </c:pt>
                <c:pt idx="147">
                  <c:v>65</c:v>
                </c:pt>
                <c:pt idx="148">
                  <c:v>62</c:v>
                </c:pt>
                <c:pt idx="149">
                  <c:v>44</c:v>
                </c:pt>
                <c:pt idx="150">
                  <c:v>58</c:v>
                </c:pt>
                <c:pt idx="151">
                  <c:v>84</c:v>
                </c:pt>
                <c:pt idx="152">
                  <c:v>50</c:v>
                </c:pt>
                <c:pt idx="153">
                  <c:v>31</c:v>
                </c:pt>
                <c:pt idx="154">
                  <c:v>63</c:v>
                </c:pt>
                <c:pt idx="155">
                  <c:v>73</c:v>
                </c:pt>
                <c:pt idx="156">
                  <c:v>44</c:v>
                </c:pt>
                <c:pt idx="157">
                  <c:v>71</c:v>
                </c:pt>
                <c:pt idx="158">
                  <c:v>57</c:v>
                </c:pt>
                <c:pt idx="159">
                  <c:v>34</c:v>
                </c:pt>
                <c:pt idx="160">
                  <c:v>42</c:v>
                </c:pt>
                <c:pt idx="161">
                  <c:v>64</c:v>
                </c:pt>
                <c:pt idx="162">
                  <c:v>52</c:v>
                </c:pt>
                <c:pt idx="163">
                  <c:v>57</c:v>
                </c:pt>
                <c:pt idx="164">
                  <c:v>44</c:v>
                </c:pt>
                <c:pt idx="165">
                  <c:v>52</c:v>
                </c:pt>
                <c:pt idx="166">
                  <c:v>27</c:v>
                </c:pt>
                <c:pt idx="167">
                  <c:v>17</c:v>
                </c:pt>
                <c:pt idx="168">
                  <c:v>47</c:v>
                </c:pt>
                <c:pt idx="169">
                  <c:v>45</c:v>
                </c:pt>
                <c:pt idx="170">
                  <c:v>31</c:v>
                </c:pt>
                <c:pt idx="171">
                  <c:v>33</c:v>
                </c:pt>
                <c:pt idx="172">
                  <c:v>34</c:v>
                </c:pt>
                <c:pt idx="173">
                  <c:v>21</c:v>
                </c:pt>
                <c:pt idx="174">
                  <c:v>13</c:v>
                </c:pt>
                <c:pt idx="175">
                  <c:v>30</c:v>
                </c:pt>
                <c:pt idx="176">
                  <c:v>25</c:v>
                </c:pt>
                <c:pt idx="177">
                  <c:v>25</c:v>
                </c:pt>
                <c:pt idx="178">
                  <c:v>16</c:v>
                </c:pt>
                <c:pt idx="179">
                  <c:v>25</c:v>
                </c:pt>
                <c:pt idx="180">
                  <c:v>21</c:v>
                </c:pt>
                <c:pt idx="181">
                  <c:v>15</c:v>
                </c:pt>
                <c:pt idx="182">
                  <c:v>27</c:v>
                </c:pt>
                <c:pt idx="183">
                  <c:v>31</c:v>
                </c:pt>
                <c:pt idx="184">
                  <c:v>22</c:v>
                </c:pt>
                <c:pt idx="185">
                  <c:v>24</c:v>
                </c:pt>
                <c:pt idx="186">
                  <c:v>4</c:v>
                </c:pt>
                <c:pt idx="187">
                  <c:v>12</c:v>
                </c:pt>
                <c:pt idx="188">
                  <c:v>8</c:v>
                </c:pt>
                <c:pt idx="189">
                  <c:v>26</c:v>
                </c:pt>
                <c:pt idx="190">
                  <c:v>34</c:v>
                </c:pt>
                <c:pt idx="191">
                  <c:v>27</c:v>
                </c:pt>
                <c:pt idx="192">
                  <c:v>23</c:v>
                </c:pt>
                <c:pt idx="193">
                  <c:v>21</c:v>
                </c:pt>
                <c:pt idx="194">
                  <c:v>7</c:v>
                </c:pt>
                <c:pt idx="195">
                  <c:v>27</c:v>
                </c:pt>
                <c:pt idx="196">
                  <c:v>41</c:v>
                </c:pt>
                <c:pt idx="197">
                  <c:v>31</c:v>
                </c:pt>
                <c:pt idx="198">
                  <c:v>21</c:v>
                </c:pt>
                <c:pt idx="199">
                  <c:v>26</c:v>
                </c:pt>
                <c:pt idx="200">
                  <c:v>20</c:v>
                </c:pt>
                <c:pt idx="201">
                  <c:v>18</c:v>
                </c:pt>
                <c:pt idx="202">
                  <c:v>16</c:v>
                </c:pt>
                <c:pt idx="203">
                  <c:v>38</c:v>
                </c:pt>
                <c:pt idx="204">
                  <c:v>52</c:v>
                </c:pt>
                <c:pt idx="205">
                  <c:v>80</c:v>
                </c:pt>
                <c:pt idx="206">
                  <c:v>47</c:v>
                </c:pt>
                <c:pt idx="207">
                  <c:v>58</c:v>
                </c:pt>
                <c:pt idx="208">
                  <c:v>41</c:v>
                </c:pt>
                <c:pt idx="209">
                  <c:v>52</c:v>
                </c:pt>
                <c:pt idx="210">
                  <c:v>132</c:v>
                </c:pt>
                <c:pt idx="211">
                  <c:v>112</c:v>
                </c:pt>
                <c:pt idx="212">
                  <c:v>150</c:v>
                </c:pt>
                <c:pt idx="213">
                  <c:v>125</c:v>
                </c:pt>
                <c:pt idx="214">
                  <c:v>109</c:v>
                </c:pt>
                <c:pt idx="215">
                  <c:v>68</c:v>
                </c:pt>
                <c:pt idx="216">
                  <c:v>93</c:v>
                </c:pt>
                <c:pt idx="217">
                  <c:v>208</c:v>
                </c:pt>
                <c:pt idx="218">
                  <c:v>173</c:v>
                </c:pt>
                <c:pt idx="219">
                  <c:v>183</c:v>
                </c:pt>
                <c:pt idx="220">
                  <c:v>213</c:v>
                </c:pt>
                <c:pt idx="221">
                  <c:v>197</c:v>
                </c:pt>
                <c:pt idx="222">
                  <c:v>73</c:v>
                </c:pt>
                <c:pt idx="223">
                  <c:v>118</c:v>
                </c:pt>
                <c:pt idx="224">
                  <c:v>217</c:v>
                </c:pt>
                <c:pt idx="225">
                  <c:v>244</c:v>
                </c:pt>
                <c:pt idx="226">
                  <c:v>185</c:v>
                </c:pt>
                <c:pt idx="227">
                  <c:v>149</c:v>
                </c:pt>
                <c:pt idx="228">
                  <c:v>150</c:v>
                </c:pt>
                <c:pt idx="229">
                  <c:v>89</c:v>
                </c:pt>
                <c:pt idx="230">
                  <c:v>63</c:v>
                </c:pt>
                <c:pt idx="231">
                  <c:v>166</c:v>
                </c:pt>
                <c:pt idx="232">
                  <c:v>138</c:v>
                </c:pt>
                <c:pt idx="233">
                  <c:v>122</c:v>
                </c:pt>
                <c:pt idx="234">
                  <c:v>114</c:v>
                </c:pt>
                <c:pt idx="235">
                  <c:v>109</c:v>
                </c:pt>
                <c:pt idx="236">
                  <c:v>54</c:v>
                </c:pt>
                <c:pt idx="237">
                  <c:v>53</c:v>
                </c:pt>
                <c:pt idx="238">
                  <c:v>164</c:v>
                </c:pt>
                <c:pt idx="239">
                  <c:v>101</c:v>
                </c:pt>
                <c:pt idx="240">
                  <c:v>93</c:v>
                </c:pt>
                <c:pt idx="241">
                  <c:v>74</c:v>
                </c:pt>
                <c:pt idx="242">
                  <c:v>78</c:v>
                </c:pt>
                <c:pt idx="243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C7-4733-952F-D247528AD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10">
                  <c:v>0.56471970000000005</c:v>
                </c:pt>
                <c:pt idx="11">
                  <c:v>3.1059583000000002</c:v>
                </c:pt>
                <c:pt idx="12">
                  <c:v>12.1414735</c:v>
                </c:pt>
                <c:pt idx="13">
                  <c:v>12.1415764</c:v>
                </c:pt>
                <c:pt idx="14">
                  <c:v>9.0380161000000001</c:v>
                </c:pt>
                <c:pt idx="15">
                  <c:v>4.2381380999999996</c:v>
                </c:pt>
                <c:pt idx="16">
                  <c:v>5.0876345000000001</c:v>
                </c:pt>
                <c:pt idx="17">
                  <c:v>3.6757637000000001</c:v>
                </c:pt>
                <c:pt idx="18">
                  <c:v>1.9799066999999999</c:v>
                </c:pt>
                <c:pt idx="19">
                  <c:v>2.2630834000000002</c:v>
                </c:pt>
                <c:pt idx="20">
                  <c:v>0.56585730000000001</c:v>
                </c:pt>
                <c:pt idx="21">
                  <c:v>0.28296939999999998</c:v>
                </c:pt>
                <c:pt idx="22">
                  <c:v>1.4150436</c:v>
                </c:pt>
                <c:pt idx="23">
                  <c:v>1.4151997999999999</c:v>
                </c:pt>
                <c:pt idx="24">
                  <c:v>0.84920879999999999</c:v>
                </c:pt>
                <c:pt idx="25">
                  <c:v>1.4154962</c:v>
                </c:pt>
                <c:pt idx="26">
                  <c:v>1.1325124</c:v>
                </c:pt>
                <c:pt idx="27">
                  <c:v>0.84941069999999996</c:v>
                </c:pt>
                <c:pt idx="28">
                  <c:v>1.6987927</c:v>
                </c:pt>
                <c:pt idx="29">
                  <c:v>1.132506</c:v>
                </c:pt>
                <c:pt idx="30">
                  <c:v>2.8312168999999998</c:v>
                </c:pt>
                <c:pt idx="31">
                  <c:v>4.8122378000000001</c:v>
                </c:pt>
                <c:pt idx="32">
                  <c:v>3.6780620000000002</c:v>
                </c:pt>
                <c:pt idx="33">
                  <c:v>6.5039362000000001</c:v>
                </c:pt>
                <c:pt idx="34">
                  <c:v>7.3484106999999996</c:v>
                </c:pt>
                <c:pt idx="35">
                  <c:v>8.4734750999999999</c:v>
                </c:pt>
                <c:pt idx="36">
                  <c:v>19.1663754</c:v>
                </c:pt>
                <c:pt idx="37">
                  <c:v>32.052092999999999</c:v>
                </c:pt>
                <c:pt idx="38">
                  <c:v>52.445738200000001</c:v>
                </c:pt>
                <c:pt idx="39">
                  <c:v>57.9116553</c:v>
                </c:pt>
                <c:pt idx="40">
                  <c:v>106.6654752</c:v>
                </c:pt>
                <c:pt idx="41">
                  <c:v>202.26255069999999</c:v>
                </c:pt>
                <c:pt idx="42">
                  <c:v>289.04956479999998</c:v>
                </c:pt>
                <c:pt idx="43">
                  <c:v>292.13789789999998</c:v>
                </c:pt>
                <c:pt idx="44">
                  <c:v>215.9430533</c:v>
                </c:pt>
                <c:pt idx="45">
                  <c:v>126.56925</c:v>
                </c:pt>
                <c:pt idx="46">
                  <c:v>94.269053299999996</c:v>
                </c:pt>
                <c:pt idx="47">
                  <c:v>85.897278999999997</c:v>
                </c:pt>
                <c:pt idx="48">
                  <c:v>93.648570500000005</c:v>
                </c:pt>
                <c:pt idx="49">
                  <c:v>117.2365511</c:v>
                </c:pt>
                <c:pt idx="50">
                  <c:v>135.5412484</c:v>
                </c:pt>
                <c:pt idx="51">
                  <c:v>211.04252220000001</c:v>
                </c:pt>
                <c:pt idx="52">
                  <c:v>177.1243117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49-4946-8B42-18535E6234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93.276331099999993</c:v>
                </c:pt>
                <c:pt idx="1">
                  <c:v>190.77610050000001</c:v>
                </c:pt>
                <c:pt idx="2">
                  <c:v>123.3634888</c:v>
                </c:pt>
                <c:pt idx="3">
                  <c:v>103.13491209999999</c:v>
                </c:pt>
                <c:pt idx="4">
                  <c:v>67.0325177</c:v>
                </c:pt>
                <c:pt idx="5">
                  <c:v>56.490571899999999</c:v>
                </c:pt>
                <c:pt idx="6">
                  <c:v>44.821202300000003</c:v>
                </c:pt>
                <c:pt idx="7">
                  <c:v>38.990480699999999</c:v>
                </c:pt>
                <c:pt idx="8">
                  <c:v>48.7562286</c:v>
                </c:pt>
                <c:pt idx="9">
                  <c:v>57.693754800000001</c:v>
                </c:pt>
                <c:pt idx="10">
                  <c:v>31.222210100000002</c:v>
                </c:pt>
                <c:pt idx="11">
                  <c:v>30.946028399999999</c:v>
                </c:pt>
                <c:pt idx="12">
                  <c:v>18.680696699999999</c:v>
                </c:pt>
                <c:pt idx="13">
                  <c:v>16.451404199999999</c:v>
                </c:pt>
                <c:pt idx="14">
                  <c:v>10.3154866</c:v>
                </c:pt>
                <c:pt idx="15">
                  <c:v>7.5256499000000003</c:v>
                </c:pt>
                <c:pt idx="16">
                  <c:v>8.9171264000000008</c:v>
                </c:pt>
                <c:pt idx="17">
                  <c:v>7.8005509999999996</c:v>
                </c:pt>
                <c:pt idx="18">
                  <c:v>5.0141929000000003</c:v>
                </c:pt>
                <c:pt idx="19">
                  <c:v>3.0648436999999999</c:v>
                </c:pt>
                <c:pt idx="20">
                  <c:v>3.0654672000000001</c:v>
                </c:pt>
                <c:pt idx="21">
                  <c:v>2.7873632000000002</c:v>
                </c:pt>
                <c:pt idx="22">
                  <c:v>2.2303443000000001</c:v>
                </c:pt>
                <c:pt idx="23">
                  <c:v>0</c:v>
                </c:pt>
                <c:pt idx="24">
                  <c:v>0.27892440000000002</c:v>
                </c:pt>
                <c:pt idx="25">
                  <c:v>0.2789913</c:v>
                </c:pt>
                <c:pt idx="26">
                  <c:v>0.27905600000000003</c:v>
                </c:pt>
                <c:pt idx="27">
                  <c:v>0.55801389999999995</c:v>
                </c:pt>
                <c:pt idx="28">
                  <c:v>1.1155858000000001</c:v>
                </c:pt>
                <c:pt idx="29">
                  <c:v>4.4605644</c:v>
                </c:pt>
                <c:pt idx="30">
                  <c:v>2.2293995999999998</c:v>
                </c:pt>
                <c:pt idx="31">
                  <c:v>2.5069777000000002</c:v>
                </c:pt>
                <c:pt idx="32">
                  <c:v>2.7840495999999999</c:v>
                </c:pt>
                <c:pt idx="33">
                  <c:v>1.3912849</c:v>
                </c:pt>
                <c:pt idx="34">
                  <c:v>1.3905498000000001</c:v>
                </c:pt>
                <c:pt idx="35">
                  <c:v>3.0572455000000001</c:v>
                </c:pt>
                <c:pt idx="36">
                  <c:v>1.9418660000000001</c:v>
                </c:pt>
                <c:pt idx="37">
                  <c:v>3.5983071</c:v>
                </c:pt>
                <c:pt idx="38">
                  <c:v>3.3141571999999999</c:v>
                </c:pt>
                <c:pt idx="39">
                  <c:v>7.4403325999999996</c:v>
                </c:pt>
                <c:pt idx="40">
                  <c:v>5.7790423999999998</c:v>
                </c:pt>
                <c:pt idx="41">
                  <c:v>9.6300147999999997</c:v>
                </c:pt>
                <c:pt idx="42">
                  <c:v>21.457338400000001</c:v>
                </c:pt>
                <c:pt idx="43">
                  <c:v>36.855915299999999</c:v>
                </c:pt>
                <c:pt idx="44">
                  <c:v>64.079116999999997</c:v>
                </c:pt>
                <c:pt idx="45">
                  <c:v>75.368521799999996</c:v>
                </c:pt>
                <c:pt idx="46">
                  <c:v>91.065911299999996</c:v>
                </c:pt>
                <c:pt idx="47">
                  <c:v>107.8701155</c:v>
                </c:pt>
                <c:pt idx="48">
                  <c:v>89.453070100000005</c:v>
                </c:pt>
                <c:pt idx="49">
                  <c:v>64.429264099999997</c:v>
                </c:pt>
                <c:pt idx="50">
                  <c:v>42.968814500000001</c:v>
                </c:pt>
                <c:pt idx="51">
                  <c:v>42.433711099999996</c:v>
                </c:pt>
                <c:pt idx="52">
                  <c:v>33.6287331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49-4946-8B42-18535E6234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60B6-4916-93FC-CDB9D95E353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13.5119484</c:v>
                </c:pt>
                <c:pt idx="1">
                  <c:v>44.982145099999997</c:v>
                </c:pt>
                <c:pt idx="2">
                  <c:v>76.266690199999999</c:v>
                </c:pt>
                <c:pt idx="3">
                  <c:v>166.57074549999999</c:v>
                </c:pt>
                <c:pt idx="4">
                  <c:v>248.52464459999999</c:v>
                </c:pt>
                <c:pt idx="5">
                  <c:v>254.89543459999999</c:v>
                </c:pt>
                <c:pt idx="6">
                  <c:v>164.5645145</c:v>
                </c:pt>
                <c:pt idx="7">
                  <c:v>133.8301523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49-4946-8B42-18535E6234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78</c:f>
              <c:numCache>
                <c:formatCode>m/d/yyyy</c:formatCode>
                <c:ptCount val="244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</c:numCache>
            </c:numRef>
          </c:cat>
          <c:val>
            <c:numRef>
              <c:f>Sheet1!$B$135:$B$378</c:f>
              <c:numCache>
                <c:formatCode>General</c:formatCode>
                <c:ptCount val="244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1</c:v>
                </c:pt>
                <c:pt idx="14">
                  <c:v>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0</c:v>
                </c:pt>
                <c:pt idx="26">
                  <c:v>0</c:v>
                </c:pt>
                <c:pt idx="27">
                  <c:v>2</c:v>
                </c:pt>
                <c:pt idx="28">
                  <c:v>5</c:v>
                </c:pt>
                <c:pt idx="29">
                  <c:v>1</c:v>
                </c:pt>
                <c:pt idx="30">
                  <c:v>4</c:v>
                </c:pt>
                <c:pt idx="31">
                  <c:v>0</c:v>
                </c:pt>
                <c:pt idx="32">
                  <c:v>4</c:v>
                </c:pt>
                <c:pt idx="33">
                  <c:v>1</c:v>
                </c:pt>
                <c:pt idx="34">
                  <c:v>1</c:v>
                </c:pt>
                <c:pt idx="35">
                  <c:v>3</c:v>
                </c:pt>
                <c:pt idx="36">
                  <c:v>0</c:v>
                </c:pt>
                <c:pt idx="37">
                  <c:v>0</c:v>
                </c:pt>
                <c:pt idx="38">
                  <c:v>2</c:v>
                </c:pt>
                <c:pt idx="39">
                  <c:v>2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2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0</c:v>
                </c:pt>
                <c:pt idx="48">
                  <c:v>0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2</c:v>
                </c:pt>
                <c:pt idx="54">
                  <c:v>3</c:v>
                </c:pt>
                <c:pt idx="55">
                  <c:v>1</c:v>
                </c:pt>
                <c:pt idx="56">
                  <c:v>3</c:v>
                </c:pt>
                <c:pt idx="57">
                  <c:v>3</c:v>
                </c:pt>
                <c:pt idx="58">
                  <c:v>2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1</c:v>
                </c:pt>
                <c:pt idx="63">
                  <c:v>5</c:v>
                </c:pt>
                <c:pt idx="64">
                  <c:v>2</c:v>
                </c:pt>
                <c:pt idx="65">
                  <c:v>0</c:v>
                </c:pt>
                <c:pt idx="66">
                  <c:v>2</c:v>
                </c:pt>
                <c:pt idx="67">
                  <c:v>1</c:v>
                </c:pt>
                <c:pt idx="68">
                  <c:v>2</c:v>
                </c:pt>
                <c:pt idx="69">
                  <c:v>1</c:v>
                </c:pt>
                <c:pt idx="70">
                  <c:v>0</c:v>
                </c:pt>
                <c:pt idx="71">
                  <c:v>2</c:v>
                </c:pt>
                <c:pt idx="72">
                  <c:v>1</c:v>
                </c:pt>
                <c:pt idx="73">
                  <c:v>6</c:v>
                </c:pt>
                <c:pt idx="74">
                  <c:v>6</c:v>
                </c:pt>
                <c:pt idx="75">
                  <c:v>1</c:v>
                </c:pt>
                <c:pt idx="76">
                  <c:v>1</c:v>
                </c:pt>
                <c:pt idx="77">
                  <c:v>2</c:v>
                </c:pt>
                <c:pt idx="78">
                  <c:v>6</c:v>
                </c:pt>
                <c:pt idx="79">
                  <c:v>1</c:v>
                </c:pt>
                <c:pt idx="80">
                  <c:v>4</c:v>
                </c:pt>
                <c:pt idx="81">
                  <c:v>0</c:v>
                </c:pt>
                <c:pt idx="82">
                  <c:v>1</c:v>
                </c:pt>
                <c:pt idx="83">
                  <c:v>2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8</c:v>
                </c:pt>
                <c:pt idx="88">
                  <c:v>6</c:v>
                </c:pt>
                <c:pt idx="89">
                  <c:v>2</c:v>
                </c:pt>
                <c:pt idx="90">
                  <c:v>2</c:v>
                </c:pt>
                <c:pt idx="91">
                  <c:v>10</c:v>
                </c:pt>
                <c:pt idx="92">
                  <c:v>7</c:v>
                </c:pt>
                <c:pt idx="93">
                  <c:v>6</c:v>
                </c:pt>
                <c:pt idx="94">
                  <c:v>5</c:v>
                </c:pt>
                <c:pt idx="95">
                  <c:v>7</c:v>
                </c:pt>
                <c:pt idx="96">
                  <c:v>6</c:v>
                </c:pt>
                <c:pt idx="97">
                  <c:v>6</c:v>
                </c:pt>
                <c:pt idx="98">
                  <c:v>5</c:v>
                </c:pt>
                <c:pt idx="99">
                  <c:v>9</c:v>
                </c:pt>
                <c:pt idx="100">
                  <c:v>12</c:v>
                </c:pt>
                <c:pt idx="101">
                  <c:v>16</c:v>
                </c:pt>
                <c:pt idx="102">
                  <c:v>8</c:v>
                </c:pt>
                <c:pt idx="103">
                  <c:v>5</c:v>
                </c:pt>
                <c:pt idx="104">
                  <c:v>8</c:v>
                </c:pt>
                <c:pt idx="105">
                  <c:v>10</c:v>
                </c:pt>
                <c:pt idx="106">
                  <c:v>14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5</c:v>
                </c:pt>
                <c:pt idx="111">
                  <c:v>4</c:v>
                </c:pt>
                <c:pt idx="112">
                  <c:v>18</c:v>
                </c:pt>
                <c:pt idx="113">
                  <c:v>19</c:v>
                </c:pt>
                <c:pt idx="114">
                  <c:v>22</c:v>
                </c:pt>
                <c:pt idx="115">
                  <c:v>21</c:v>
                </c:pt>
                <c:pt idx="116">
                  <c:v>17</c:v>
                </c:pt>
                <c:pt idx="117">
                  <c:v>10</c:v>
                </c:pt>
                <c:pt idx="118">
                  <c:v>10</c:v>
                </c:pt>
                <c:pt idx="119">
                  <c:v>35</c:v>
                </c:pt>
                <c:pt idx="120">
                  <c:v>29</c:v>
                </c:pt>
                <c:pt idx="121">
                  <c:v>26</c:v>
                </c:pt>
                <c:pt idx="122">
                  <c:v>53</c:v>
                </c:pt>
                <c:pt idx="123">
                  <c:v>43</c:v>
                </c:pt>
                <c:pt idx="124">
                  <c:v>34</c:v>
                </c:pt>
                <c:pt idx="125">
                  <c:v>11</c:v>
                </c:pt>
                <c:pt idx="126">
                  <c:v>65</c:v>
                </c:pt>
                <c:pt idx="127">
                  <c:v>68</c:v>
                </c:pt>
                <c:pt idx="128">
                  <c:v>77</c:v>
                </c:pt>
                <c:pt idx="129">
                  <c:v>35</c:v>
                </c:pt>
                <c:pt idx="130">
                  <c:v>82</c:v>
                </c:pt>
                <c:pt idx="131">
                  <c:v>63</c:v>
                </c:pt>
                <c:pt idx="132">
                  <c:v>37</c:v>
                </c:pt>
                <c:pt idx="133">
                  <c:v>111</c:v>
                </c:pt>
                <c:pt idx="134">
                  <c:v>104</c:v>
                </c:pt>
                <c:pt idx="135">
                  <c:v>117</c:v>
                </c:pt>
                <c:pt idx="136">
                  <c:v>103</c:v>
                </c:pt>
                <c:pt idx="137">
                  <c:v>112</c:v>
                </c:pt>
                <c:pt idx="138">
                  <c:v>83</c:v>
                </c:pt>
                <c:pt idx="139">
                  <c:v>28</c:v>
                </c:pt>
                <c:pt idx="140">
                  <c:v>134</c:v>
                </c:pt>
                <c:pt idx="141">
                  <c:v>147</c:v>
                </c:pt>
                <c:pt idx="142">
                  <c:v>168</c:v>
                </c:pt>
                <c:pt idx="143">
                  <c:v>96</c:v>
                </c:pt>
                <c:pt idx="144">
                  <c:v>161</c:v>
                </c:pt>
                <c:pt idx="145">
                  <c:v>97</c:v>
                </c:pt>
                <c:pt idx="146">
                  <c:v>54</c:v>
                </c:pt>
                <c:pt idx="147">
                  <c:v>160</c:v>
                </c:pt>
                <c:pt idx="148">
                  <c:v>229</c:v>
                </c:pt>
                <c:pt idx="149">
                  <c:v>121</c:v>
                </c:pt>
                <c:pt idx="150">
                  <c:v>167</c:v>
                </c:pt>
                <c:pt idx="151">
                  <c:v>236</c:v>
                </c:pt>
                <c:pt idx="152">
                  <c:v>154</c:v>
                </c:pt>
                <c:pt idx="153">
                  <c:v>84</c:v>
                </c:pt>
                <c:pt idx="154">
                  <c:v>192</c:v>
                </c:pt>
                <c:pt idx="155">
                  <c:v>259</c:v>
                </c:pt>
                <c:pt idx="156">
                  <c:v>141</c:v>
                </c:pt>
                <c:pt idx="157">
                  <c:v>214</c:v>
                </c:pt>
                <c:pt idx="158">
                  <c:v>188</c:v>
                </c:pt>
                <c:pt idx="159">
                  <c:v>108</c:v>
                </c:pt>
                <c:pt idx="160">
                  <c:v>78</c:v>
                </c:pt>
                <c:pt idx="161">
                  <c:v>200</c:v>
                </c:pt>
                <c:pt idx="162">
                  <c:v>164</c:v>
                </c:pt>
                <c:pt idx="163">
                  <c:v>175</c:v>
                </c:pt>
                <c:pt idx="164">
                  <c:v>146</c:v>
                </c:pt>
                <c:pt idx="165">
                  <c:v>146</c:v>
                </c:pt>
                <c:pt idx="166">
                  <c:v>86</c:v>
                </c:pt>
                <c:pt idx="167">
                  <c:v>65</c:v>
                </c:pt>
                <c:pt idx="168">
                  <c:v>167</c:v>
                </c:pt>
                <c:pt idx="169">
                  <c:v>153</c:v>
                </c:pt>
                <c:pt idx="170">
                  <c:v>120</c:v>
                </c:pt>
                <c:pt idx="171">
                  <c:v>127</c:v>
                </c:pt>
                <c:pt idx="172">
                  <c:v>112</c:v>
                </c:pt>
                <c:pt idx="173">
                  <c:v>74</c:v>
                </c:pt>
                <c:pt idx="174">
                  <c:v>58</c:v>
                </c:pt>
                <c:pt idx="175">
                  <c:v>103</c:v>
                </c:pt>
                <c:pt idx="176">
                  <c:v>125</c:v>
                </c:pt>
                <c:pt idx="177">
                  <c:v>86</c:v>
                </c:pt>
                <c:pt idx="178">
                  <c:v>66</c:v>
                </c:pt>
                <c:pt idx="179">
                  <c:v>81</c:v>
                </c:pt>
                <c:pt idx="180">
                  <c:v>48</c:v>
                </c:pt>
                <c:pt idx="181">
                  <c:v>33</c:v>
                </c:pt>
                <c:pt idx="182">
                  <c:v>90</c:v>
                </c:pt>
                <c:pt idx="183">
                  <c:v>83</c:v>
                </c:pt>
                <c:pt idx="184">
                  <c:v>52</c:v>
                </c:pt>
                <c:pt idx="185">
                  <c:v>61</c:v>
                </c:pt>
                <c:pt idx="186">
                  <c:v>22</c:v>
                </c:pt>
                <c:pt idx="187">
                  <c:v>18</c:v>
                </c:pt>
                <c:pt idx="188">
                  <c:v>18</c:v>
                </c:pt>
                <c:pt idx="189">
                  <c:v>75</c:v>
                </c:pt>
                <c:pt idx="190">
                  <c:v>91</c:v>
                </c:pt>
                <c:pt idx="191">
                  <c:v>56</c:v>
                </c:pt>
                <c:pt idx="192">
                  <c:v>53</c:v>
                </c:pt>
                <c:pt idx="193">
                  <c:v>52</c:v>
                </c:pt>
                <c:pt idx="194">
                  <c:v>12</c:v>
                </c:pt>
                <c:pt idx="195">
                  <c:v>36</c:v>
                </c:pt>
                <c:pt idx="196">
                  <c:v>98</c:v>
                </c:pt>
                <c:pt idx="197">
                  <c:v>80</c:v>
                </c:pt>
                <c:pt idx="198">
                  <c:v>56</c:v>
                </c:pt>
                <c:pt idx="199">
                  <c:v>59</c:v>
                </c:pt>
                <c:pt idx="200">
                  <c:v>67</c:v>
                </c:pt>
                <c:pt idx="201">
                  <c:v>37</c:v>
                </c:pt>
                <c:pt idx="202">
                  <c:v>30</c:v>
                </c:pt>
                <c:pt idx="203">
                  <c:v>71</c:v>
                </c:pt>
                <c:pt idx="204">
                  <c:v>106</c:v>
                </c:pt>
                <c:pt idx="205">
                  <c:v>117</c:v>
                </c:pt>
                <c:pt idx="206">
                  <c:v>97</c:v>
                </c:pt>
                <c:pt idx="207">
                  <c:v>113</c:v>
                </c:pt>
                <c:pt idx="208">
                  <c:v>92</c:v>
                </c:pt>
                <c:pt idx="209">
                  <c:v>68</c:v>
                </c:pt>
                <c:pt idx="210">
                  <c:v>238</c:v>
                </c:pt>
                <c:pt idx="211">
                  <c:v>270</c:v>
                </c:pt>
                <c:pt idx="212">
                  <c:v>289</c:v>
                </c:pt>
                <c:pt idx="213">
                  <c:v>291</c:v>
                </c:pt>
                <c:pt idx="214">
                  <c:v>314</c:v>
                </c:pt>
                <c:pt idx="215">
                  <c:v>171</c:v>
                </c:pt>
                <c:pt idx="216">
                  <c:v>187</c:v>
                </c:pt>
                <c:pt idx="217">
                  <c:v>420</c:v>
                </c:pt>
                <c:pt idx="218">
                  <c:v>386</c:v>
                </c:pt>
                <c:pt idx="219">
                  <c:v>442</c:v>
                </c:pt>
                <c:pt idx="220">
                  <c:v>816</c:v>
                </c:pt>
                <c:pt idx="221">
                  <c:v>612</c:v>
                </c:pt>
                <c:pt idx="222">
                  <c:v>217</c:v>
                </c:pt>
                <c:pt idx="223">
                  <c:v>324</c:v>
                </c:pt>
                <c:pt idx="224">
                  <c:v>639</c:v>
                </c:pt>
                <c:pt idx="225">
                  <c:v>713</c:v>
                </c:pt>
                <c:pt idx="226">
                  <c:v>574</c:v>
                </c:pt>
                <c:pt idx="227">
                  <c:v>552</c:v>
                </c:pt>
                <c:pt idx="228">
                  <c:v>413</c:v>
                </c:pt>
                <c:pt idx="229">
                  <c:v>338</c:v>
                </c:pt>
                <c:pt idx="230">
                  <c:v>171</c:v>
                </c:pt>
                <c:pt idx="231">
                  <c:v>625</c:v>
                </c:pt>
                <c:pt idx="232">
                  <c:v>543</c:v>
                </c:pt>
                <c:pt idx="233">
                  <c:v>426</c:v>
                </c:pt>
                <c:pt idx="234">
                  <c:v>370</c:v>
                </c:pt>
                <c:pt idx="235">
                  <c:v>353</c:v>
                </c:pt>
                <c:pt idx="236">
                  <c:v>202</c:v>
                </c:pt>
                <c:pt idx="237">
                  <c:v>147</c:v>
                </c:pt>
                <c:pt idx="238">
                  <c:v>420</c:v>
                </c:pt>
                <c:pt idx="239">
                  <c:v>416</c:v>
                </c:pt>
                <c:pt idx="240">
                  <c:v>311</c:v>
                </c:pt>
                <c:pt idx="241">
                  <c:v>277</c:v>
                </c:pt>
                <c:pt idx="242">
                  <c:v>232</c:v>
                </c:pt>
                <c:pt idx="243">
                  <c:v>1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10">
                  <c:v>0</c:v>
                </c:pt>
                <c:pt idx="11">
                  <c:v>1.4093757</c:v>
                </c:pt>
                <c:pt idx="12">
                  <c:v>4.7918773999999997</c:v>
                </c:pt>
                <c:pt idx="13">
                  <c:v>10.288486300000001</c:v>
                </c:pt>
                <c:pt idx="14">
                  <c:v>14.9415306</c:v>
                </c:pt>
                <c:pt idx="15">
                  <c:v>7.6132040999999999</c:v>
                </c:pt>
                <c:pt idx="16">
                  <c:v>7.1916272000000001</c:v>
                </c:pt>
                <c:pt idx="17">
                  <c:v>4.3722320000000003</c:v>
                </c:pt>
                <c:pt idx="18">
                  <c:v>5.3602813999999999</c:v>
                </c:pt>
                <c:pt idx="19">
                  <c:v>2.3980849000000002</c:v>
                </c:pt>
                <c:pt idx="20">
                  <c:v>0.70533500000000005</c:v>
                </c:pt>
                <c:pt idx="21">
                  <c:v>0.84642110000000004</c:v>
                </c:pt>
                <c:pt idx="22">
                  <c:v>1.2696620999999999</c:v>
                </c:pt>
                <c:pt idx="23">
                  <c:v>2.2572725999999999</c:v>
                </c:pt>
                <c:pt idx="24">
                  <c:v>2.1162885999999999</c:v>
                </c:pt>
                <c:pt idx="25">
                  <c:v>1.8341970000000001</c:v>
                </c:pt>
                <c:pt idx="26">
                  <c:v>0.84658949999999999</c:v>
                </c:pt>
                <c:pt idx="27">
                  <c:v>1.8341608</c:v>
                </c:pt>
                <c:pt idx="28">
                  <c:v>3.6678869000000001</c:v>
                </c:pt>
                <c:pt idx="29">
                  <c:v>2.2568937</c:v>
                </c:pt>
                <c:pt idx="30">
                  <c:v>5.6415658999999998</c:v>
                </c:pt>
                <c:pt idx="31">
                  <c:v>3.5256554000000002</c:v>
                </c:pt>
                <c:pt idx="32">
                  <c:v>3.8075844000000001</c:v>
                </c:pt>
                <c:pt idx="33">
                  <c:v>4.7945871000000002</c:v>
                </c:pt>
                <c:pt idx="34">
                  <c:v>6.3455803</c:v>
                </c:pt>
                <c:pt idx="35">
                  <c:v>10.151811800000001</c:v>
                </c:pt>
                <c:pt idx="36">
                  <c:v>14.3667839</c:v>
                </c:pt>
                <c:pt idx="37">
                  <c:v>32.213050600000003</c:v>
                </c:pt>
                <c:pt idx="38">
                  <c:v>41.162496300000001</c:v>
                </c:pt>
                <c:pt idx="39">
                  <c:v>55.981535899999997</c:v>
                </c:pt>
                <c:pt idx="40">
                  <c:v>107.7492594</c:v>
                </c:pt>
                <c:pt idx="41">
                  <c:v>217.36970059999999</c:v>
                </c:pt>
                <c:pt idx="42">
                  <c:v>359.47534209999998</c:v>
                </c:pt>
                <c:pt idx="43">
                  <c:v>449.18396840000003</c:v>
                </c:pt>
                <c:pt idx="44">
                  <c:v>384.25208270000002</c:v>
                </c:pt>
                <c:pt idx="45">
                  <c:v>251.44819659999999</c:v>
                </c:pt>
                <c:pt idx="46">
                  <c:v>180.31967399999999</c:v>
                </c:pt>
                <c:pt idx="47">
                  <c:v>169.42668950000001</c:v>
                </c:pt>
                <c:pt idx="48">
                  <c:v>133.8157927</c:v>
                </c:pt>
                <c:pt idx="49">
                  <c:v>169.76773879999999</c:v>
                </c:pt>
                <c:pt idx="50">
                  <c:v>166.83747969999999</c:v>
                </c:pt>
                <c:pt idx="51">
                  <c:v>205.89588259999999</c:v>
                </c:pt>
                <c:pt idx="52">
                  <c:v>207.6446452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C63-4AAB-97B9-1EE2E94FBFD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78.456442100000004</c:v>
                </c:pt>
                <c:pt idx="1">
                  <c:v>264.39572420000002</c:v>
                </c:pt>
                <c:pt idx="2">
                  <c:v>175.6500297</c:v>
                </c:pt>
                <c:pt idx="3">
                  <c:v>139.73276100000001</c:v>
                </c:pt>
                <c:pt idx="4">
                  <c:v>108.4807835</c:v>
                </c:pt>
                <c:pt idx="5">
                  <c:v>94.378641500000001</c:v>
                </c:pt>
                <c:pt idx="6">
                  <c:v>87.582325299999994</c:v>
                </c:pt>
                <c:pt idx="7">
                  <c:v>92.166154399999996</c:v>
                </c:pt>
                <c:pt idx="8">
                  <c:v>100.7292343</c:v>
                </c:pt>
                <c:pt idx="9">
                  <c:v>105.7647331</c:v>
                </c:pt>
                <c:pt idx="10">
                  <c:v>91.007337399999997</c:v>
                </c:pt>
                <c:pt idx="11">
                  <c:v>78.895518199999998</c:v>
                </c:pt>
                <c:pt idx="12">
                  <c:v>58.065973399999997</c:v>
                </c:pt>
                <c:pt idx="13">
                  <c:v>41.690616800000001</c:v>
                </c:pt>
                <c:pt idx="14">
                  <c:v>34.460949100000001</c:v>
                </c:pt>
                <c:pt idx="15">
                  <c:v>21.017321299999999</c:v>
                </c:pt>
                <c:pt idx="16">
                  <c:v>17.820903999999999</c:v>
                </c:pt>
                <c:pt idx="17">
                  <c:v>9.1094165</c:v>
                </c:pt>
                <c:pt idx="18">
                  <c:v>10.2087834</c:v>
                </c:pt>
                <c:pt idx="19">
                  <c:v>9.2463276000000008</c:v>
                </c:pt>
                <c:pt idx="20">
                  <c:v>3.8655666000000002</c:v>
                </c:pt>
                <c:pt idx="21">
                  <c:v>3.0383466000000001</c:v>
                </c:pt>
                <c:pt idx="22">
                  <c:v>1.9341451000000001</c:v>
                </c:pt>
                <c:pt idx="23">
                  <c:v>0.82903269999999996</c:v>
                </c:pt>
                <c:pt idx="24">
                  <c:v>0.82912090000000005</c:v>
                </c:pt>
                <c:pt idx="25">
                  <c:v>0.96740800000000005</c:v>
                </c:pt>
                <c:pt idx="26">
                  <c:v>0.69106389999999995</c:v>
                </c:pt>
                <c:pt idx="27">
                  <c:v>0.96689219999999998</c:v>
                </c:pt>
                <c:pt idx="28">
                  <c:v>1.3799554999999999</c:v>
                </c:pt>
                <c:pt idx="29">
                  <c:v>1.2407733999999999</c:v>
                </c:pt>
                <c:pt idx="30">
                  <c:v>1.3773230999999999</c:v>
                </c:pt>
                <c:pt idx="31">
                  <c:v>0.82592969999999999</c:v>
                </c:pt>
                <c:pt idx="32">
                  <c:v>1.1015809000000001</c:v>
                </c:pt>
                <c:pt idx="33">
                  <c:v>2.0661497999999998</c:v>
                </c:pt>
                <c:pt idx="34">
                  <c:v>1.102314</c:v>
                </c:pt>
                <c:pt idx="35">
                  <c:v>1.6539063000000001</c:v>
                </c:pt>
                <c:pt idx="36">
                  <c:v>2.7548778</c:v>
                </c:pt>
                <c:pt idx="37">
                  <c:v>2.7526028999999999</c:v>
                </c:pt>
                <c:pt idx="38">
                  <c:v>5.0881137000000001</c:v>
                </c:pt>
                <c:pt idx="39">
                  <c:v>7.9693756000000002</c:v>
                </c:pt>
                <c:pt idx="40">
                  <c:v>8.2402528000000004</c:v>
                </c:pt>
                <c:pt idx="41">
                  <c:v>12.4975966</c:v>
                </c:pt>
                <c:pt idx="42">
                  <c:v>22.934960799999999</c:v>
                </c:pt>
                <c:pt idx="43">
                  <c:v>41.749524800000003</c:v>
                </c:pt>
                <c:pt idx="44">
                  <c:v>78.967354200000003</c:v>
                </c:pt>
                <c:pt idx="45">
                  <c:v>98.612150700000001</c:v>
                </c:pt>
                <c:pt idx="46">
                  <c:v>124.5778158</c:v>
                </c:pt>
                <c:pt idx="47">
                  <c:v>162.35951499999999</c:v>
                </c:pt>
                <c:pt idx="48">
                  <c:v>133.9399784</c:v>
                </c:pt>
                <c:pt idx="49">
                  <c:v>107.760398</c:v>
                </c:pt>
                <c:pt idx="50">
                  <c:v>78.260821699999994</c:v>
                </c:pt>
                <c:pt idx="51">
                  <c:v>56.016471799999998</c:v>
                </c:pt>
                <c:pt idx="52">
                  <c:v>41.5926972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C63-4AAB-97B9-1EE2E94FBFD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BC63-4AAB-97B9-1EE2E94FBFD2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9.6475740999999999</c:v>
                </c:pt>
                <c:pt idx="1">
                  <c:v>49.681692099999999</c:v>
                </c:pt>
                <c:pt idx="2">
                  <c:v>65.842710600000004</c:v>
                </c:pt>
                <c:pt idx="3">
                  <c:v>166.0991381</c:v>
                </c:pt>
                <c:pt idx="4">
                  <c:v>293.08844900000003</c:v>
                </c:pt>
                <c:pt idx="5">
                  <c:v>340.09912009999999</c:v>
                </c:pt>
                <c:pt idx="6">
                  <c:v>260.1722039</c:v>
                </c:pt>
                <c:pt idx="7">
                  <c:v>191.310623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C63-4AAB-97B9-1EE2E94FBF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78</c:f>
              <c:numCache>
                <c:formatCode>m/d/yyyy</c:formatCode>
                <c:ptCount val="244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</c:numCache>
            </c:numRef>
          </c:cat>
          <c:val>
            <c:numRef>
              <c:f>Sheet1!$B$135:$B$378</c:f>
              <c:numCache>
                <c:formatCode>General</c:formatCode>
                <c:ptCount val="244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2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5</c:v>
                </c:pt>
                <c:pt idx="18">
                  <c:v>4</c:v>
                </c:pt>
                <c:pt idx="19">
                  <c:v>0</c:v>
                </c:pt>
                <c:pt idx="20">
                  <c:v>1</c:v>
                </c:pt>
                <c:pt idx="21">
                  <c:v>2</c:v>
                </c:pt>
                <c:pt idx="22">
                  <c:v>0</c:v>
                </c:pt>
                <c:pt idx="23">
                  <c:v>4</c:v>
                </c:pt>
                <c:pt idx="24">
                  <c:v>2</c:v>
                </c:pt>
                <c:pt idx="25">
                  <c:v>5</c:v>
                </c:pt>
                <c:pt idx="26">
                  <c:v>1</c:v>
                </c:pt>
                <c:pt idx="27">
                  <c:v>1</c:v>
                </c:pt>
                <c:pt idx="28">
                  <c:v>4</c:v>
                </c:pt>
                <c:pt idx="29">
                  <c:v>5</c:v>
                </c:pt>
                <c:pt idx="30">
                  <c:v>1</c:v>
                </c:pt>
                <c:pt idx="31">
                  <c:v>3</c:v>
                </c:pt>
                <c:pt idx="32">
                  <c:v>2</c:v>
                </c:pt>
                <c:pt idx="33">
                  <c:v>0</c:v>
                </c:pt>
                <c:pt idx="34">
                  <c:v>2</c:v>
                </c:pt>
                <c:pt idx="35">
                  <c:v>3</c:v>
                </c:pt>
                <c:pt idx="36">
                  <c:v>4</c:v>
                </c:pt>
                <c:pt idx="37">
                  <c:v>1</c:v>
                </c:pt>
                <c:pt idx="38">
                  <c:v>4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2</c:v>
                </c:pt>
                <c:pt idx="43">
                  <c:v>4</c:v>
                </c:pt>
                <c:pt idx="44">
                  <c:v>3</c:v>
                </c:pt>
                <c:pt idx="45">
                  <c:v>1</c:v>
                </c:pt>
                <c:pt idx="46">
                  <c:v>4</c:v>
                </c:pt>
                <c:pt idx="47">
                  <c:v>1</c:v>
                </c:pt>
                <c:pt idx="48">
                  <c:v>0</c:v>
                </c:pt>
                <c:pt idx="49">
                  <c:v>8</c:v>
                </c:pt>
                <c:pt idx="50">
                  <c:v>1</c:v>
                </c:pt>
                <c:pt idx="51">
                  <c:v>1</c:v>
                </c:pt>
                <c:pt idx="52">
                  <c:v>2</c:v>
                </c:pt>
                <c:pt idx="53">
                  <c:v>7</c:v>
                </c:pt>
                <c:pt idx="54">
                  <c:v>2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0</c:v>
                </c:pt>
                <c:pt idx="60">
                  <c:v>3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3</c:v>
                </c:pt>
                <c:pt idx="65">
                  <c:v>5</c:v>
                </c:pt>
                <c:pt idx="66">
                  <c:v>2</c:v>
                </c:pt>
                <c:pt idx="67">
                  <c:v>2</c:v>
                </c:pt>
                <c:pt idx="68">
                  <c:v>0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2</c:v>
                </c:pt>
                <c:pt idx="73">
                  <c:v>5</c:v>
                </c:pt>
                <c:pt idx="74">
                  <c:v>6</c:v>
                </c:pt>
                <c:pt idx="75">
                  <c:v>5</c:v>
                </c:pt>
                <c:pt idx="76">
                  <c:v>1</c:v>
                </c:pt>
                <c:pt idx="77">
                  <c:v>5</c:v>
                </c:pt>
                <c:pt idx="78">
                  <c:v>4</c:v>
                </c:pt>
                <c:pt idx="79">
                  <c:v>1</c:v>
                </c:pt>
                <c:pt idx="80">
                  <c:v>3</c:v>
                </c:pt>
                <c:pt idx="81">
                  <c:v>2</c:v>
                </c:pt>
                <c:pt idx="82">
                  <c:v>0</c:v>
                </c:pt>
                <c:pt idx="83">
                  <c:v>3</c:v>
                </c:pt>
                <c:pt idx="84">
                  <c:v>2</c:v>
                </c:pt>
                <c:pt idx="85">
                  <c:v>3</c:v>
                </c:pt>
                <c:pt idx="86">
                  <c:v>5</c:v>
                </c:pt>
                <c:pt idx="87">
                  <c:v>7</c:v>
                </c:pt>
                <c:pt idx="88">
                  <c:v>4</c:v>
                </c:pt>
                <c:pt idx="89">
                  <c:v>2</c:v>
                </c:pt>
                <c:pt idx="90">
                  <c:v>6</c:v>
                </c:pt>
                <c:pt idx="91">
                  <c:v>8</c:v>
                </c:pt>
                <c:pt idx="92">
                  <c:v>9</c:v>
                </c:pt>
                <c:pt idx="93">
                  <c:v>8</c:v>
                </c:pt>
                <c:pt idx="94">
                  <c:v>7</c:v>
                </c:pt>
                <c:pt idx="95">
                  <c:v>5</c:v>
                </c:pt>
                <c:pt idx="96">
                  <c:v>4</c:v>
                </c:pt>
                <c:pt idx="97">
                  <c:v>2</c:v>
                </c:pt>
                <c:pt idx="98">
                  <c:v>8</c:v>
                </c:pt>
                <c:pt idx="99">
                  <c:v>6</c:v>
                </c:pt>
                <c:pt idx="100">
                  <c:v>9</c:v>
                </c:pt>
                <c:pt idx="101">
                  <c:v>12</c:v>
                </c:pt>
                <c:pt idx="102">
                  <c:v>11</c:v>
                </c:pt>
                <c:pt idx="103">
                  <c:v>4</c:v>
                </c:pt>
                <c:pt idx="104">
                  <c:v>7</c:v>
                </c:pt>
                <c:pt idx="105">
                  <c:v>10</c:v>
                </c:pt>
                <c:pt idx="106">
                  <c:v>13</c:v>
                </c:pt>
                <c:pt idx="107">
                  <c:v>13</c:v>
                </c:pt>
                <c:pt idx="108">
                  <c:v>16</c:v>
                </c:pt>
                <c:pt idx="109">
                  <c:v>10</c:v>
                </c:pt>
                <c:pt idx="110">
                  <c:v>8</c:v>
                </c:pt>
                <c:pt idx="111">
                  <c:v>5</c:v>
                </c:pt>
                <c:pt idx="112">
                  <c:v>19</c:v>
                </c:pt>
                <c:pt idx="113">
                  <c:v>31</c:v>
                </c:pt>
                <c:pt idx="114">
                  <c:v>18</c:v>
                </c:pt>
                <c:pt idx="115">
                  <c:v>19</c:v>
                </c:pt>
                <c:pt idx="116">
                  <c:v>14</c:v>
                </c:pt>
                <c:pt idx="117">
                  <c:v>9</c:v>
                </c:pt>
                <c:pt idx="118">
                  <c:v>13</c:v>
                </c:pt>
                <c:pt idx="119">
                  <c:v>39</c:v>
                </c:pt>
                <c:pt idx="120">
                  <c:v>55</c:v>
                </c:pt>
                <c:pt idx="121">
                  <c:v>50</c:v>
                </c:pt>
                <c:pt idx="122">
                  <c:v>54</c:v>
                </c:pt>
                <c:pt idx="123">
                  <c:v>46</c:v>
                </c:pt>
                <c:pt idx="124">
                  <c:v>28</c:v>
                </c:pt>
                <c:pt idx="125">
                  <c:v>22</c:v>
                </c:pt>
                <c:pt idx="126">
                  <c:v>81</c:v>
                </c:pt>
                <c:pt idx="127">
                  <c:v>87</c:v>
                </c:pt>
                <c:pt idx="128">
                  <c:v>65</c:v>
                </c:pt>
                <c:pt idx="129">
                  <c:v>41</c:v>
                </c:pt>
                <c:pt idx="130">
                  <c:v>83</c:v>
                </c:pt>
                <c:pt idx="131">
                  <c:v>56</c:v>
                </c:pt>
                <c:pt idx="132">
                  <c:v>42</c:v>
                </c:pt>
                <c:pt idx="133">
                  <c:v>136</c:v>
                </c:pt>
                <c:pt idx="134">
                  <c:v>128</c:v>
                </c:pt>
                <c:pt idx="135">
                  <c:v>107</c:v>
                </c:pt>
                <c:pt idx="136">
                  <c:v>116</c:v>
                </c:pt>
                <c:pt idx="137">
                  <c:v>133</c:v>
                </c:pt>
                <c:pt idx="138">
                  <c:v>55</c:v>
                </c:pt>
                <c:pt idx="139">
                  <c:v>39</c:v>
                </c:pt>
                <c:pt idx="140">
                  <c:v>129</c:v>
                </c:pt>
                <c:pt idx="141">
                  <c:v>150</c:v>
                </c:pt>
                <c:pt idx="142">
                  <c:v>144</c:v>
                </c:pt>
                <c:pt idx="143">
                  <c:v>121</c:v>
                </c:pt>
                <c:pt idx="144">
                  <c:v>170</c:v>
                </c:pt>
                <c:pt idx="145">
                  <c:v>97</c:v>
                </c:pt>
                <c:pt idx="146">
                  <c:v>53</c:v>
                </c:pt>
                <c:pt idx="147">
                  <c:v>166</c:v>
                </c:pt>
                <c:pt idx="148">
                  <c:v>201</c:v>
                </c:pt>
                <c:pt idx="149">
                  <c:v>144</c:v>
                </c:pt>
                <c:pt idx="150">
                  <c:v>166</c:v>
                </c:pt>
                <c:pt idx="151">
                  <c:v>257</c:v>
                </c:pt>
                <c:pt idx="152">
                  <c:v>125</c:v>
                </c:pt>
                <c:pt idx="153">
                  <c:v>91</c:v>
                </c:pt>
                <c:pt idx="154">
                  <c:v>205</c:v>
                </c:pt>
                <c:pt idx="155">
                  <c:v>216</c:v>
                </c:pt>
                <c:pt idx="156">
                  <c:v>184</c:v>
                </c:pt>
                <c:pt idx="157">
                  <c:v>262</c:v>
                </c:pt>
                <c:pt idx="158">
                  <c:v>158</c:v>
                </c:pt>
                <c:pt idx="159">
                  <c:v>117</c:v>
                </c:pt>
                <c:pt idx="160">
                  <c:v>83</c:v>
                </c:pt>
                <c:pt idx="161">
                  <c:v>210</c:v>
                </c:pt>
                <c:pt idx="162">
                  <c:v>193</c:v>
                </c:pt>
                <c:pt idx="163">
                  <c:v>171</c:v>
                </c:pt>
                <c:pt idx="164">
                  <c:v>131</c:v>
                </c:pt>
                <c:pt idx="165">
                  <c:v>161</c:v>
                </c:pt>
                <c:pt idx="166">
                  <c:v>100</c:v>
                </c:pt>
                <c:pt idx="167">
                  <c:v>66</c:v>
                </c:pt>
                <c:pt idx="168">
                  <c:v>199</c:v>
                </c:pt>
                <c:pt idx="169">
                  <c:v>168</c:v>
                </c:pt>
                <c:pt idx="170">
                  <c:v>142</c:v>
                </c:pt>
                <c:pt idx="171">
                  <c:v>116</c:v>
                </c:pt>
                <c:pt idx="172">
                  <c:v>99</c:v>
                </c:pt>
                <c:pt idx="173">
                  <c:v>78</c:v>
                </c:pt>
                <c:pt idx="174">
                  <c:v>62</c:v>
                </c:pt>
                <c:pt idx="175">
                  <c:v>122</c:v>
                </c:pt>
                <c:pt idx="176">
                  <c:v>172</c:v>
                </c:pt>
                <c:pt idx="177">
                  <c:v>97</c:v>
                </c:pt>
                <c:pt idx="178">
                  <c:v>89</c:v>
                </c:pt>
                <c:pt idx="179">
                  <c:v>97</c:v>
                </c:pt>
                <c:pt idx="180">
                  <c:v>64</c:v>
                </c:pt>
                <c:pt idx="181">
                  <c:v>43</c:v>
                </c:pt>
                <c:pt idx="182">
                  <c:v>106</c:v>
                </c:pt>
                <c:pt idx="183">
                  <c:v>97</c:v>
                </c:pt>
                <c:pt idx="184">
                  <c:v>44</c:v>
                </c:pt>
                <c:pt idx="185">
                  <c:v>75</c:v>
                </c:pt>
                <c:pt idx="186">
                  <c:v>22</c:v>
                </c:pt>
                <c:pt idx="187">
                  <c:v>14</c:v>
                </c:pt>
                <c:pt idx="188">
                  <c:v>22</c:v>
                </c:pt>
                <c:pt idx="189">
                  <c:v>70</c:v>
                </c:pt>
                <c:pt idx="190">
                  <c:v>95</c:v>
                </c:pt>
                <c:pt idx="191">
                  <c:v>67</c:v>
                </c:pt>
                <c:pt idx="192">
                  <c:v>66</c:v>
                </c:pt>
                <c:pt idx="193">
                  <c:v>76</c:v>
                </c:pt>
                <c:pt idx="194">
                  <c:v>15</c:v>
                </c:pt>
                <c:pt idx="195">
                  <c:v>27</c:v>
                </c:pt>
                <c:pt idx="196">
                  <c:v>100</c:v>
                </c:pt>
                <c:pt idx="197">
                  <c:v>96</c:v>
                </c:pt>
                <c:pt idx="198">
                  <c:v>84</c:v>
                </c:pt>
                <c:pt idx="199">
                  <c:v>78</c:v>
                </c:pt>
                <c:pt idx="200">
                  <c:v>76</c:v>
                </c:pt>
                <c:pt idx="201">
                  <c:v>35</c:v>
                </c:pt>
                <c:pt idx="202">
                  <c:v>29</c:v>
                </c:pt>
                <c:pt idx="203">
                  <c:v>84</c:v>
                </c:pt>
                <c:pt idx="204">
                  <c:v>116</c:v>
                </c:pt>
                <c:pt idx="205">
                  <c:v>114</c:v>
                </c:pt>
                <c:pt idx="206">
                  <c:v>93</c:v>
                </c:pt>
                <c:pt idx="207">
                  <c:v>108</c:v>
                </c:pt>
                <c:pt idx="208">
                  <c:v>79</c:v>
                </c:pt>
                <c:pt idx="209">
                  <c:v>69</c:v>
                </c:pt>
                <c:pt idx="210">
                  <c:v>216</c:v>
                </c:pt>
                <c:pt idx="211">
                  <c:v>247</c:v>
                </c:pt>
                <c:pt idx="212">
                  <c:v>299</c:v>
                </c:pt>
                <c:pt idx="213">
                  <c:v>299</c:v>
                </c:pt>
                <c:pt idx="214">
                  <c:v>264</c:v>
                </c:pt>
                <c:pt idx="215">
                  <c:v>177</c:v>
                </c:pt>
                <c:pt idx="216">
                  <c:v>166</c:v>
                </c:pt>
                <c:pt idx="217">
                  <c:v>362</c:v>
                </c:pt>
                <c:pt idx="218">
                  <c:v>355</c:v>
                </c:pt>
                <c:pt idx="219">
                  <c:v>439</c:v>
                </c:pt>
                <c:pt idx="220">
                  <c:v>647</c:v>
                </c:pt>
                <c:pt idx="221">
                  <c:v>537</c:v>
                </c:pt>
                <c:pt idx="222">
                  <c:v>220</c:v>
                </c:pt>
                <c:pt idx="223">
                  <c:v>238</c:v>
                </c:pt>
                <c:pt idx="224">
                  <c:v>515</c:v>
                </c:pt>
                <c:pt idx="225">
                  <c:v>648</c:v>
                </c:pt>
                <c:pt idx="226">
                  <c:v>510</c:v>
                </c:pt>
                <c:pt idx="227">
                  <c:v>481</c:v>
                </c:pt>
                <c:pt idx="228">
                  <c:v>413</c:v>
                </c:pt>
                <c:pt idx="229">
                  <c:v>274</c:v>
                </c:pt>
                <c:pt idx="230">
                  <c:v>150</c:v>
                </c:pt>
                <c:pt idx="231">
                  <c:v>574</c:v>
                </c:pt>
                <c:pt idx="232">
                  <c:v>482</c:v>
                </c:pt>
                <c:pt idx="233">
                  <c:v>409</c:v>
                </c:pt>
                <c:pt idx="234">
                  <c:v>351</c:v>
                </c:pt>
                <c:pt idx="235">
                  <c:v>306</c:v>
                </c:pt>
                <c:pt idx="236">
                  <c:v>158</c:v>
                </c:pt>
                <c:pt idx="237">
                  <c:v>120</c:v>
                </c:pt>
                <c:pt idx="238">
                  <c:v>331</c:v>
                </c:pt>
                <c:pt idx="239">
                  <c:v>368</c:v>
                </c:pt>
                <c:pt idx="240">
                  <c:v>252</c:v>
                </c:pt>
                <c:pt idx="241">
                  <c:v>232</c:v>
                </c:pt>
                <c:pt idx="242">
                  <c:v>194</c:v>
                </c:pt>
                <c:pt idx="243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F-4C94-8915-777191685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10">
                  <c:v>0.32531850000000001</c:v>
                </c:pt>
                <c:pt idx="11">
                  <c:v>0.65063709999999997</c:v>
                </c:pt>
                <c:pt idx="12">
                  <c:v>5.3677562999999999</c:v>
                </c:pt>
                <c:pt idx="13">
                  <c:v>8.4580351</c:v>
                </c:pt>
                <c:pt idx="14">
                  <c:v>11.8618372</c:v>
                </c:pt>
                <c:pt idx="15">
                  <c:v>10.5465549</c:v>
                </c:pt>
                <c:pt idx="16">
                  <c:v>8.4249956000000008</c:v>
                </c:pt>
                <c:pt idx="17">
                  <c:v>3.0739014</c:v>
                </c:pt>
                <c:pt idx="18">
                  <c:v>3.7170095000000001</c:v>
                </c:pt>
                <c:pt idx="19">
                  <c:v>0.96944940000000002</c:v>
                </c:pt>
                <c:pt idx="20">
                  <c:v>0.64618260000000005</c:v>
                </c:pt>
                <c:pt idx="21">
                  <c:v>0.64606569999999997</c:v>
                </c:pt>
                <c:pt idx="22">
                  <c:v>1.614854</c:v>
                </c:pt>
                <c:pt idx="23">
                  <c:v>2.9060098999999999</c:v>
                </c:pt>
                <c:pt idx="24">
                  <c:v>1.4526273000000001</c:v>
                </c:pt>
                <c:pt idx="25">
                  <c:v>1.9363333</c:v>
                </c:pt>
                <c:pt idx="26">
                  <c:v>1.4518681</c:v>
                </c:pt>
                <c:pt idx="27">
                  <c:v>1.9354275999999999</c:v>
                </c:pt>
                <c:pt idx="28">
                  <c:v>3.0640219000000002</c:v>
                </c:pt>
                <c:pt idx="29">
                  <c:v>3.2248649</c:v>
                </c:pt>
                <c:pt idx="30">
                  <c:v>3.8693263</c:v>
                </c:pt>
                <c:pt idx="31">
                  <c:v>3.8685155999999998</c:v>
                </c:pt>
                <c:pt idx="32">
                  <c:v>5.3172376000000003</c:v>
                </c:pt>
                <c:pt idx="33">
                  <c:v>7.7312488999999998</c:v>
                </c:pt>
                <c:pt idx="34">
                  <c:v>6.6012763999999997</c:v>
                </c:pt>
                <c:pt idx="35">
                  <c:v>5.7937054000000003</c:v>
                </c:pt>
                <c:pt idx="36">
                  <c:v>17.6818457</c:v>
                </c:pt>
                <c:pt idx="37">
                  <c:v>32.745887099999997</c:v>
                </c:pt>
                <c:pt idx="38">
                  <c:v>44.401627900000001</c:v>
                </c:pt>
                <c:pt idx="39">
                  <c:v>52.983397400000001</c:v>
                </c:pt>
                <c:pt idx="40">
                  <c:v>112.5073313</c:v>
                </c:pt>
                <c:pt idx="41">
                  <c:v>194.05112030000001</c:v>
                </c:pt>
                <c:pt idx="42">
                  <c:v>346.27329930000002</c:v>
                </c:pt>
                <c:pt idx="43">
                  <c:v>395.26446429999999</c:v>
                </c:pt>
                <c:pt idx="44">
                  <c:v>349.86469140000003</c:v>
                </c:pt>
                <c:pt idx="45">
                  <c:v>229.23878160000001</c:v>
                </c:pt>
                <c:pt idx="46">
                  <c:v>156.3159852</c:v>
                </c:pt>
                <c:pt idx="47">
                  <c:v>129.32976099999999</c:v>
                </c:pt>
                <c:pt idx="48">
                  <c:v>108.95783470000001</c:v>
                </c:pt>
                <c:pt idx="49">
                  <c:v>129.95654089999999</c:v>
                </c:pt>
                <c:pt idx="50">
                  <c:v>140.8209894</c:v>
                </c:pt>
                <c:pt idx="51">
                  <c:v>180.77883739999999</c:v>
                </c:pt>
                <c:pt idx="52">
                  <c:v>189.606002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87-4662-BB8A-7C8E4F3CFE2C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59.461387899999998</c:v>
                </c:pt>
                <c:pt idx="1">
                  <c:v>246.0995614</c:v>
                </c:pt>
                <c:pt idx="2">
                  <c:v>172.6483044</c:v>
                </c:pt>
                <c:pt idx="3">
                  <c:v>136.54737710000001</c:v>
                </c:pt>
                <c:pt idx="4">
                  <c:v>115.2638769</c:v>
                </c:pt>
                <c:pt idx="5">
                  <c:v>96.905974799999996</c:v>
                </c:pt>
                <c:pt idx="6">
                  <c:v>104.8737642</c:v>
                </c:pt>
                <c:pt idx="7">
                  <c:v>103.39674580000001</c:v>
                </c:pt>
                <c:pt idx="8">
                  <c:v>113.1070227</c:v>
                </c:pt>
                <c:pt idx="9">
                  <c:v>132.0563233</c:v>
                </c:pt>
                <c:pt idx="10">
                  <c:v>106.196117</c:v>
                </c:pt>
                <c:pt idx="11">
                  <c:v>93.213384300000001</c:v>
                </c:pt>
                <c:pt idx="12">
                  <c:v>62.168858</c:v>
                </c:pt>
                <c:pt idx="13">
                  <c:v>47.417521299999997</c:v>
                </c:pt>
                <c:pt idx="14">
                  <c:v>29.1300293</c:v>
                </c:pt>
                <c:pt idx="15">
                  <c:v>23.983617299999999</c:v>
                </c:pt>
                <c:pt idx="16">
                  <c:v>18.8628897</c:v>
                </c:pt>
                <c:pt idx="17">
                  <c:v>13.767720199999999</c:v>
                </c:pt>
                <c:pt idx="18">
                  <c:v>12.0666691</c:v>
                </c:pt>
                <c:pt idx="19">
                  <c:v>9.7798165000000008</c:v>
                </c:pt>
                <c:pt idx="20">
                  <c:v>6.1153757000000004</c:v>
                </c:pt>
                <c:pt idx="21">
                  <c:v>2.4473549999999999</c:v>
                </c:pt>
                <c:pt idx="22">
                  <c:v>1.530278</c:v>
                </c:pt>
                <c:pt idx="23">
                  <c:v>1.3774884000000001</c:v>
                </c:pt>
                <c:pt idx="24">
                  <c:v>0.61229579999999995</c:v>
                </c:pt>
                <c:pt idx="25">
                  <c:v>1.2247490999999999</c:v>
                </c:pt>
                <c:pt idx="26">
                  <c:v>0.61244580000000004</c:v>
                </c:pt>
                <c:pt idx="27">
                  <c:v>1.2244548</c:v>
                </c:pt>
                <c:pt idx="28">
                  <c:v>1.9885459000000001</c:v>
                </c:pt>
                <c:pt idx="29">
                  <c:v>3.0575008000000001</c:v>
                </c:pt>
                <c:pt idx="30">
                  <c:v>2.2917521999999999</c:v>
                </c:pt>
                <c:pt idx="31">
                  <c:v>1.8332701</c:v>
                </c:pt>
                <c:pt idx="32">
                  <c:v>2.2940619999999998</c:v>
                </c:pt>
                <c:pt idx="33">
                  <c:v>1.8372896000000001</c:v>
                </c:pt>
                <c:pt idx="34">
                  <c:v>2.7590053999999999</c:v>
                </c:pt>
                <c:pt idx="35">
                  <c:v>1.6878621</c:v>
                </c:pt>
                <c:pt idx="36">
                  <c:v>3.8379642</c:v>
                </c:pt>
                <c:pt idx="37">
                  <c:v>3.3785547</c:v>
                </c:pt>
                <c:pt idx="38">
                  <c:v>6.2985255000000002</c:v>
                </c:pt>
                <c:pt idx="39">
                  <c:v>6.7616887999999999</c:v>
                </c:pt>
                <c:pt idx="40">
                  <c:v>10.456069100000001</c:v>
                </c:pt>
                <c:pt idx="41">
                  <c:v>16.0027081</c:v>
                </c:pt>
                <c:pt idx="42">
                  <c:v>35.107223300000001</c:v>
                </c:pt>
                <c:pt idx="43">
                  <c:v>53.621946700000002</c:v>
                </c:pt>
                <c:pt idx="44">
                  <c:v>98.371322399999997</c:v>
                </c:pt>
                <c:pt idx="45">
                  <c:v>113.3872552</c:v>
                </c:pt>
                <c:pt idx="46">
                  <c:v>146.16723870000001</c:v>
                </c:pt>
                <c:pt idx="47">
                  <c:v>194.8872217</c:v>
                </c:pt>
                <c:pt idx="48">
                  <c:v>152.49979139999999</c:v>
                </c:pt>
                <c:pt idx="49">
                  <c:v>137.41932990000001</c:v>
                </c:pt>
                <c:pt idx="50">
                  <c:v>104.22288229999999</c:v>
                </c:pt>
                <c:pt idx="51">
                  <c:v>75.4883928</c:v>
                </c:pt>
                <c:pt idx="52">
                  <c:v>50.9112178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87-4662-BB8A-7C8E4F3CFE2C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7D87-4662-BB8A-7C8E4F3CFE2C}"/>
              </c:ext>
            </c:extLst>
          </c:dPt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13.007002099999999</c:v>
                </c:pt>
                <c:pt idx="1">
                  <c:v>65.614253300000001</c:v>
                </c:pt>
                <c:pt idx="2">
                  <c:v>80.286292200000005</c:v>
                </c:pt>
                <c:pt idx="3">
                  <c:v>188.53730630000001</c:v>
                </c:pt>
                <c:pt idx="4">
                  <c:v>302.78123499999998</c:v>
                </c:pt>
                <c:pt idx="5">
                  <c:v>340.9772064</c:v>
                </c:pt>
                <c:pt idx="6">
                  <c:v>274.8977964</c:v>
                </c:pt>
                <c:pt idx="7">
                  <c:v>174.8133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D87-4662-BB8A-7C8E4F3CFE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5:$A$378</c:f>
              <c:numCache>
                <c:formatCode>m/d/yyyy</c:formatCode>
                <c:ptCount val="244"/>
                <c:pt idx="0">
                  <c:v>44364</c:v>
                </c:pt>
                <c:pt idx="1">
                  <c:v>44365</c:v>
                </c:pt>
                <c:pt idx="2">
                  <c:v>44366</c:v>
                </c:pt>
                <c:pt idx="3">
                  <c:v>44367</c:v>
                </c:pt>
                <c:pt idx="4">
                  <c:v>44369</c:v>
                </c:pt>
                <c:pt idx="5">
                  <c:v>44370</c:v>
                </c:pt>
                <c:pt idx="6">
                  <c:v>44371</c:v>
                </c:pt>
                <c:pt idx="7">
                  <c:v>44373</c:v>
                </c:pt>
                <c:pt idx="8">
                  <c:v>44374</c:v>
                </c:pt>
                <c:pt idx="9">
                  <c:v>44375</c:v>
                </c:pt>
                <c:pt idx="10">
                  <c:v>44376</c:v>
                </c:pt>
                <c:pt idx="11">
                  <c:v>44378</c:v>
                </c:pt>
                <c:pt idx="12">
                  <c:v>44379</c:v>
                </c:pt>
                <c:pt idx="13">
                  <c:v>44381</c:v>
                </c:pt>
                <c:pt idx="14">
                  <c:v>44382</c:v>
                </c:pt>
                <c:pt idx="15">
                  <c:v>44383</c:v>
                </c:pt>
                <c:pt idx="16">
                  <c:v>44384</c:v>
                </c:pt>
                <c:pt idx="17">
                  <c:v>44385</c:v>
                </c:pt>
                <c:pt idx="18">
                  <c:v>44386</c:v>
                </c:pt>
                <c:pt idx="19">
                  <c:v>44387</c:v>
                </c:pt>
                <c:pt idx="20">
                  <c:v>44388</c:v>
                </c:pt>
                <c:pt idx="21">
                  <c:v>44389</c:v>
                </c:pt>
                <c:pt idx="22">
                  <c:v>44390</c:v>
                </c:pt>
                <c:pt idx="23">
                  <c:v>44391</c:v>
                </c:pt>
                <c:pt idx="24">
                  <c:v>44392</c:v>
                </c:pt>
                <c:pt idx="25">
                  <c:v>44393</c:v>
                </c:pt>
                <c:pt idx="26">
                  <c:v>44394</c:v>
                </c:pt>
                <c:pt idx="27">
                  <c:v>44395</c:v>
                </c:pt>
                <c:pt idx="28">
                  <c:v>44396</c:v>
                </c:pt>
                <c:pt idx="29">
                  <c:v>44397</c:v>
                </c:pt>
                <c:pt idx="30">
                  <c:v>44398</c:v>
                </c:pt>
                <c:pt idx="31">
                  <c:v>44399</c:v>
                </c:pt>
                <c:pt idx="32">
                  <c:v>44400</c:v>
                </c:pt>
                <c:pt idx="33">
                  <c:v>44401</c:v>
                </c:pt>
                <c:pt idx="34">
                  <c:v>44402</c:v>
                </c:pt>
                <c:pt idx="35">
                  <c:v>44403</c:v>
                </c:pt>
                <c:pt idx="36">
                  <c:v>44404</c:v>
                </c:pt>
                <c:pt idx="37">
                  <c:v>44405</c:v>
                </c:pt>
                <c:pt idx="38">
                  <c:v>44406</c:v>
                </c:pt>
                <c:pt idx="39">
                  <c:v>44407</c:v>
                </c:pt>
                <c:pt idx="40">
                  <c:v>44408</c:v>
                </c:pt>
                <c:pt idx="41">
                  <c:v>44409</c:v>
                </c:pt>
                <c:pt idx="42">
                  <c:v>44410</c:v>
                </c:pt>
                <c:pt idx="43">
                  <c:v>44411</c:v>
                </c:pt>
                <c:pt idx="44">
                  <c:v>44412</c:v>
                </c:pt>
                <c:pt idx="45">
                  <c:v>44413</c:v>
                </c:pt>
                <c:pt idx="46">
                  <c:v>44414</c:v>
                </c:pt>
                <c:pt idx="47">
                  <c:v>44415</c:v>
                </c:pt>
                <c:pt idx="48">
                  <c:v>44416</c:v>
                </c:pt>
                <c:pt idx="49">
                  <c:v>44417</c:v>
                </c:pt>
                <c:pt idx="50">
                  <c:v>44418</c:v>
                </c:pt>
                <c:pt idx="51">
                  <c:v>44419</c:v>
                </c:pt>
                <c:pt idx="52">
                  <c:v>44420</c:v>
                </c:pt>
                <c:pt idx="53">
                  <c:v>44421</c:v>
                </c:pt>
                <c:pt idx="54">
                  <c:v>44422</c:v>
                </c:pt>
                <c:pt idx="55">
                  <c:v>44423</c:v>
                </c:pt>
                <c:pt idx="56">
                  <c:v>44424</c:v>
                </c:pt>
                <c:pt idx="57">
                  <c:v>44425</c:v>
                </c:pt>
                <c:pt idx="58">
                  <c:v>44426</c:v>
                </c:pt>
                <c:pt idx="59">
                  <c:v>44427</c:v>
                </c:pt>
                <c:pt idx="60">
                  <c:v>44428</c:v>
                </c:pt>
                <c:pt idx="61">
                  <c:v>44429</c:v>
                </c:pt>
                <c:pt idx="62">
                  <c:v>44430</c:v>
                </c:pt>
                <c:pt idx="63">
                  <c:v>44431</c:v>
                </c:pt>
                <c:pt idx="64">
                  <c:v>44432</c:v>
                </c:pt>
                <c:pt idx="65">
                  <c:v>44433</c:v>
                </c:pt>
                <c:pt idx="66">
                  <c:v>44434</c:v>
                </c:pt>
                <c:pt idx="67">
                  <c:v>44435</c:v>
                </c:pt>
                <c:pt idx="68">
                  <c:v>44436</c:v>
                </c:pt>
                <c:pt idx="69">
                  <c:v>44437</c:v>
                </c:pt>
                <c:pt idx="70">
                  <c:v>44438</c:v>
                </c:pt>
                <c:pt idx="71">
                  <c:v>44439</c:v>
                </c:pt>
                <c:pt idx="72">
                  <c:v>44440</c:v>
                </c:pt>
                <c:pt idx="73">
                  <c:v>44441</c:v>
                </c:pt>
                <c:pt idx="74">
                  <c:v>44442</c:v>
                </c:pt>
                <c:pt idx="75">
                  <c:v>44443</c:v>
                </c:pt>
                <c:pt idx="76">
                  <c:v>44444</c:v>
                </c:pt>
                <c:pt idx="77">
                  <c:v>44445</c:v>
                </c:pt>
                <c:pt idx="78">
                  <c:v>44446</c:v>
                </c:pt>
                <c:pt idx="79">
                  <c:v>44447</c:v>
                </c:pt>
                <c:pt idx="80">
                  <c:v>44448</c:v>
                </c:pt>
                <c:pt idx="81">
                  <c:v>44449</c:v>
                </c:pt>
                <c:pt idx="82">
                  <c:v>44450</c:v>
                </c:pt>
                <c:pt idx="83">
                  <c:v>44451</c:v>
                </c:pt>
                <c:pt idx="84">
                  <c:v>44452</c:v>
                </c:pt>
                <c:pt idx="85">
                  <c:v>44453</c:v>
                </c:pt>
                <c:pt idx="86">
                  <c:v>44454</c:v>
                </c:pt>
                <c:pt idx="87">
                  <c:v>44455</c:v>
                </c:pt>
                <c:pt idx="88">
                  <c:v>44456</c:v>
                </c:pt>
                <c:pt idx="89">
                  <c:v>44457</c:v>
                </c:pt>
                <c:pt idx="90">
                  <c:v>44458</c:v>
                </c:pt>
                <c:pt idx="91">
                  <c:v>44459</c:v>
                </c:pt>
                <c:pt idx="92">
                  <c:v>44460</c:v>
                </c:pt>
                <c:pt idx="93">
                  <c:v>44461</c:v>
                </c:pt>
                <c:pt idx="94">
                  <c:v>44462</c:v>
                </c:pt>
                <c:pt idx="95">
                  <c:v>44463</c:v>
                </c:pt>
                <c:pt idx="96">
                  <c:v>44464</c:v>
                </c:pt>
                <c:pt idx="97">
                  <c:v>44465</c:v>
                </c:pt>
                <c:pt idx="98">
                  <c:v>44466</c:v>
                </c:pt>
                <c:pt idx="99">
                  <c:v>44467</c:v>
                </c:pt>
                <c:pt idx="100">
                  <c:v>44468</c:v>
                </c:pt>
                <c:pt idx="101">
                  <c:v>44469</c:v>
                </c:pt>
                <c:pt idx="102">
                  <c:v>44470</c:v>
                </c:pt>
                <c:pt idx="103">
                  <c:v>44471</c:v>
                </c:pt>
                <c:pt idx="104">
                  <c:v>44472</c:v>
                </c:pt>
                <c:pt idx="105">
                  <c:v>44473</c:v>
                </c:pt>
                <c:pt idx="106">
                  <c:v>44474</c:v>
                </c:pt>
                <c:pt idx="107">
                  <c:v>44475</c:v>
                </c:pt>
                <c:pt idx="108">
                  <c:v>44476</c:v>
                </c:pt>
                <c:pt idx="109">
                  <c:v>44477</c:v>
                </c:pt>
                <c:pt idx="110">
                  <c:v>44478</c:v>
                </c:pt>
                <c:pt idx="111">
                  <c:v>44479</c:v>
                </c:pt>
                <c:pt idx="112">
                  <c:v>44480</c:v>
                </c:pt>
                <c:pt idx="113">
                  <c:v>44481</c:v>
                </c:pt>
                <c:pt idx="114">
                  <c:v>44482</c:v>
                </c:pt>
                <c:pt idx="115">
                  <c:v>44483</c:v>
                </c:pt>
                <c:pt idx="116">
                  <c:v>44484</c:v>
                </c:pt>
                <c:pt idx="117">
                  <c:v>44485</c:v>
                </c:pt>
                <c:pt idx="118">
                  <c:v>44486</c:v>
                </c:pt>
                <c:pt idx="119">
                  <c:v>44487</c:v>
                </c:pt>
                <c:pt idx="120">
                  <c:v>44488</c:v>
                </c:pt>
                <c:pt idx="121">
                  <c:v>44489</c:v>
                </c:pt>
                <c:pt idx="122">
                  <c:v>44490</c:v>
                </c:pt>
                <c:pt idx="123">
                  <c:v>44491</c:v>
                </c:pt>
                <c:pt idx="124">
                  <c:v>44492</c:v>
                </c:pt>
                <c:pt idx="125">
                  <c:v>44493</c:v>
                </c:pt>
                <c:pt idx="126">
                  <c:v>44494</c:v>
                </c:pt>
                <c:pt idx="127">
                  <c:v>44495</c:v>
                </c:pt>
                <c:pt idx="128">
                  <c:v>44496</c:v>
                </c:pt>
                <c:pt idx="129">
                  <c:v>44497</c:v>
                </c:pt>
                <c:pt idx="130">
                  <c:v>44498</c:v>
                </c:pt>
                <c:pt idx="131">
                  <c:v>44499</c:v>
                </c:pt>
                <c:pt idx="132">
                  <c:v>44500</c:v>
                </c:pt>
                <c:pt idx="133">
                  <c:v>44501</c:v>
                </c:pt>
                <c:pt idx="134">
                  <c:v>44502</c:v>
                </c:pt>
                <c:pt idx="135">
                  <c:v>44503</c:v>
                </c:pt>
                <c:pt idx="136">
                  <c:v>44504</c:v>
                </c:pt>
                <c:pt idx="137">
                  <c:v>44505</c:v>
                </c:pt>
                <c:pt idx="138">
                  <c:v>44506</c:v>
                </c:pt>
                <c:pt idx="139">
                  <c:v>44507</c:v>
                </c:pt>
                <c:pt idx="140">
                  <c:v>44508</c:v>
                </c:pt>
                <c:pt idx="141">
                  <c:v>44509</c:v>
                </c:pt>
                <c:pt idx="142">
                  <c:v>44510</c:v>
                </c:pt>
                <c:pt idx="143">
                  <c:v>44511</c:v>
                </c:pt>
                <c:pt idx="144">
                  <c:v>44512</c:v>
                </c:pt>
                <c:pt idx="145">
                  <c:v>44513</c:v>
                </c:pt>
                <c:pt idx="146">
                  <c:v>44514</c:v>
                </c:pt>
                <c:pt idx="147">
                  <c:v>44515</c:v>
                </c:pt>
                <c:pt idx="148">
                  <c:v>44516</c:v>
                </c:pt>
                <c:pt idx="149">
                  <c:v>44517</c:v>
                </c:pt>
                <c:pt idx="150">
                  <c:v>44518</c:v>
                </c:pt>
                <c:pt idx="151">
                  <c:v>44519</c:v>
                </c:pt>
                <c:pt idx="152">
                  <c:v>44520</c:v>
                </c:pt>
                <c:pt idx="153">
                  <c:v>44521</c:v>
                </c:pt>
                <c:pt idx="154">
                  <c:v>44522</c:v>
                </c:pt>
                <c:pt idx="155">
                  <c:v>44523</c:v>
                </c:pt>
                <c:pt idx="156">
                  <c:v>44524</c:v>
                </c:pt>
                <c:pt idx="157">
                  <c:v>44525</c:v>
                </c:pt>
                <c:pt idx="158">
                  <c:v>44526</c:v>
                </c:pt>
                <c:pt idx="159">
                  <c:v>44527</c:v>
                </c:pt>
                <c:pt idx="160">
                  <c:v>44528</c:v>
                </c:pt>
                <c:pt idx="161">
                  <c:v>44529</c:v>
                </c:pt>
                <c:pt idx="162">
                  <c:v>44530</c:v>
                </c:pt>
                <c:pt idx="163">
                  <c:v>44531</c:v>
                </c:pt>
                <c:pt idx="164">
                  <c:v>44532</c:v>
                </c:pt>
                <c:pt idx="165">
                  <c:v>44533</c:v>
                </c:pt>
                <c:pt idx="166">
                  <c:v>44534</c:v>
                </c:pt>
                <c:pt idx="167">
                  <c:v>44535</c:v>
                </c:pt>
                <c:pt idx="168">
                  <c:v>44536</c:v>
                </c:pt>
                <c:pt idx="169">
                  <c:v>44537</c:v>
                </c:pt>
                <c:pt idx="170">
                  <c:v>44538</c:v>
                </c:pt>
                <c:pt idx="171">
                  <c:v>44539</c:v>
                </c:pt>
                <c:pt idx="172">
                  <c:v>44540</c:v>
                </c:pt>
                <c:pt idx="173">
                  <c:v>44541</c:v>
                </c:pt>
                <c:pt idx="174">
                  <c:v>44542</c:v>
                </c:pt>
                <c:pt idx="175">
                  <c:v>44543</c:v>
                </c:pt>
                <c:pt idx="176">
                  <c:v>44544</c:v>
                </c:pt>
                <c:pt idx="177">
                  <c:v>44545</c:v>
                </c:pt>
                <c:pt idx="178">
                  <c:v>44546</c:v>
                </c:pt>
                <c:pt idx="179">
                  <c:v>44547</c:v>
                </c:pt>
                <c:pt idx="180">
                  <c:v>44548</c:v>
                </c:pt>
                <c:pt idx="181">
                  <c:v>44549</c:v>
                </c:pt>
                <c:pt idx="182">
                  <c:v>44550</c:v>
                </c:pt>
                <c:pt idx="183">
                  <c:v>44551</c:v>
                </c:pt>
                <c:pt idx="184">
                  <c:v>44552</c:v>
                </c:pt>
                <c:pt idx="185">
                  <c:v>44553</c:v>
                </c:pt>
                <c:pt idx="186">
                  <c:v>44554</c:v>
                </c:pt>
                <c:pt idx="187">
                  <c:v>44555</c:v>
                </c:pt>
                <c:pt idx="188">
                  <c:v>44556</c:v>
                </c:pt>
                <c:pt idx="189">
                  <c:v>44557</c:v>
                </c:pt>
                <c:pt idx="190">
                  <c:v>44558</c:v>
                </c:pt>
                <c:pt idx="191">
                  <c:v>44559</c:v>
                </c:pt>
                <c:pt idx="192">
                  <c:v>44560</c:v>
                </c:pt>
                <c:pt idx="193">
                  <c:v>44561</c:v>
                </c:pt>
                <c:pt idx="194">
                  <c:v>44562</c:v>
                </c:pt>
                <c:pt idx="195">
                  <c:v>44563</c:v>
                </c:pt>
                <c:pt idx="196">
                  <c:v>44564</c:v>
                </c:pt>
                <c:pt idx="197">
                  <c:v>44565</c:v>
                </c:pt>
                <c:pt idx="198">
                  <c:v>44566</c:v>
                </c:pt>
                <c:pt idx="199">
                  <c:v>44567</c:v>
                </c:pt>
                <c:pt idx="200">
                  <c:v>44568</c:v>
                </c:pt>
                <c:pt idx="201">
                  <c:v>44569</c:v>
                </c:pt>
                <c:pt idx="202">
                  <c:v>44570</c:v>
                </c:pt>
                <c:pt idx="203">
                  <c:v>44571</c:v>
                </c:pt>
                <c:pt idx="204">
                  <c:v>44572</c:v>
                </c:pt>
                <c:pt idx="205">
                  <c:v>44573</c:v>
                </c:pt>
                <c:pt idx="206">
                  <c:v>44574</c:v>
                </c:pt>
                <c:pt idx="207">
                  <c:v>44575</c:v>
                </c:pt>
                <c:pt idx="208">
                  <c:v>44576</c:v>
                </c:pt>
                <c:pt idx="209">
                  <c:v>44577</c:v>
                </c:pt>
                <c:pt idx="210">
                  <c:v>44578</c:v>
                </c:pt>
                <c:pt idx="211">
                  <c:v>44579</c:v>
                </c:pt>
                <c:pt idx="212">
                  <c:v>44580</c:v>
                </c:pt>
                <c:pt idx="213">
                  <c:v>44581</c:v>
                </c:pt>
                <c:pt idx="214">
                  <c:v>44582</c:v>
                </c:pt>
                <c:pt idx="215">
                  <c:v>44583</c:v>
                </c:pt>
                <c:pt idx="216">
                  <c:v>44584</c:v>
                </c:pt>
                <c:pt idx="217">
                  <c:v>44585</c:v>
                </c:pt>
                <c:pt idx="218">
                  <c:v>44586</c:v>
                </c:pt>
                <c:pt idx="219">
                  <c:v>44587</c:v>
                </c:pt>
                <c:pt idx="220">
                  <c:v>44588</c:v>
                </c:pt>
                <c:pt idx="221">
                  <c:v>44589</c:v>
                </c:pt>
                <c:pt idx="222">
                  <c:v>44590</c:v>
                </c:pt>
                <c:pt idx="223">
                  <c:v>44591</c:v>
                </c:pt>
                <c:pt idx="224">
                  <c:v>44592</c:v>
                </c:pt>
                <c:pt idx="225">
                  <c:v>44593</c:v>
                </c:pt>
                <c:pt idx="226">
                  <c:v>44594</c:v>
                </c:pt>
                <c:pt idx="227">
                  <c:v>44595</c:v>
                </c:pt>
                <c:pt idx="228">
                  <c:v>44596</c:v>
                </c:pt>
                <c:pt idx="229">
                  <c:v>44597</c:v>
                </c:pt>
                <c:pt idx="230">
                  <c:v>44598</c:v>
                </c:pt>
                <c:pt idx="231">
                  <c:v>44599</c:v>
                </c:pt>
                <c:pt idx="232">
                  <c:v>44600</c:v>
                </c:pt>
                <c:pt idx="233">
                  <c:v>44601</c:v>
                </c:pt>
                <c:pt idx="234">
                  <c:v>44602</c:v>
                </c:pt>
                <c:pt idx="235">
                  <c:v>44603</c:v>
                </c:pt>
                <c:pt idx="236">
                  <c:v>44604</c:v>
                </c:pt>
                <c:pt idx="237">
                  <c:v>44605</c:v>
                </c:pt>
                <c:pt idx="238">
                  <c:v>44606</c:v>
                </c:pt>
                <c:pt idx="239">
                  <c:v>44607</c:v>
                </c:pt>
                <c:pt idx="240">
                  <c:v>44608</c:v>
                </c:pt>
                <c:pt idx="241">
                  <c:v>44609</c:v>
                </c:pt>
                <c:pt idx="242">
                  <c:v>44610</c:v>
                </c:pt>
                <c:pt idx="243">
                  <c:v>44611</c:v>
                </c:pt>
              </c:numCache>
            </c:numRef>
          </c:cat>
          <c:val>
            <c:numRef>
              <c:f>Sheet1!$B$135:$B$378</c:f>
              <c:numCache>
                <c:formatCode>General</c:formatCode>
                <c:ptCount val="244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6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2</c:v>
                </c:pt>
                <c:pt idx="14">
                  <c:v>4</c:v>
                </c:pt>
                <c:pt idx="15">
                  <c:v>1</c:v>
                </c:pt>
                <c:pt idx="16">
                  <c:v>1</c:v>
                </c:pt>
                <c:pt idx="17">
                  <c:v>6</c:v>
                </c:pt>
                <c:pt idx="18">
                  <c:v>6</c:v>
                </c:pt>
                <c:pt idx="19">
                  <c:v>1</c:v>
                </c:pt>
                <c:pt idx="20">
                  <c:v>1</c:v>
                </c:pt>
                <c:pt idx="21">
                  <c:v>6</c:v>
                </c:pt>
                <c:pt idx="22">
                  <c:v>4</c:v>
                </c:pt>
                <c:pt idx="23">
                  <c:v>7</c:v>
                </c:pt>
                <c:pt idx="24">
                  <c:v>5</c:v>
                </c:pt>
                <c:pt idx="25">
                  <c:v>8</c:v>
                </c:pt>
                <c:pt idx="26">
                  <c:v>3</c:v>
                </c:pt>
                <c:pt idx="27">
                  <c:v>4</c:v>
                </c:pt>
                <c:pt idx="28">
                  <c:v>11</c:v>
                </c:pt>
                <c:pt idx="29">
                  <c:v>8</c:v>
                </c:pt>
                <c:pt idx="30">
                  <c:v>7</c:v>
                </c:pt>
                <c:pt idx="31">
                  <c:v>7</c:v>
                </c:pt>
                <c:pt idx="32">
                  <c:v>6</c:v>
                </c:pt>
                <c:pt idx="33">
                  <c:v>1</c:v>
                </c:pt>
                <c:pt idx="34">
                  <c:v>4</c:v>
                </c:pt>
                <c:pt idx="35">
                  <c:v>9</c:v>
                </c:pt>
                <c:pt idx="36">
                  <c:v>5</c:v>
                </c:pt>
                <c:pt idx="37">
                  <c:v>2</c:v>
                </c:pt>
                <c:pt idx="38">
                  <c:v>8</c:v>
                </c:pt>
                <c:pt idx="39">
                  <c:v>5</c:v>
                </c:pt>
                <c:pt idx="40">
                  <c:v>2</c:v>
                </c:pt>
                <c:pt idx="41">
                  <c:v>1</c:v>
                </c:pt>
                <c:pt idx="42">
                  <c:v>2</c:v>
                </c:pt>
                <c:pt idx="43">
                  <c:v>6</c:v>
                </c:pt>
                <c:pt idx="44">
                  <c:v>11</c:v>
                </c:pt>
                <c:pt idx="45">
                  <c:v>3</c:v>
                </c:pt>
                <c:pt idx="46">
                  <c:v>7</c:v>
                </c:pt>
                <c:pt idx="47">
                  <c:v>1</c:v>
                </c:pt>
                <c:pt idx="48">
                  <c:v>3</c:v>
                </c:pt>
                <c:pt idx="49">
                  <c:v>12</c:v>
                </c:pt>
                <c:pt idx="50">
                  <c:v>3</c:v>
                </c:pt>
                <c:pt idx="51">
                  <c:v>7</c:v>
                </c:pt>
                <c:pt idx="52">
                  <c:v>4</c:v>
                </c:pt>
                <c:pt idx="53">
                  <c:v>10</c:v>
                </c:pt>
                <c:pt idx="54">
                  <c:v>5</c:v>
                </c:pt>
                <c:pt idx="55">
                  <c:v>2</c:v>
                </c:pt>
                <c:pt idx="56">
                  <c:v>7</c:v>
                </c:pt>
                <c:pt idx="57">
                  <c:v>4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2</c:v>
                </c:pt>
                <c:pt idx="62">
                  <c:v>3</c:v>
                </c:pt>
                <c:pt idx="63">
                  <c:v>8</c:v>
                </c:pt>
                <c:pt idx="64">
                  <c:v>5</c:v>
                </c:pt>
                <c:pt idx="65">
                  <c:v>6</c:v>
                </c:pt>
                <c:pt idx="66">
                  <c:v>5</c:v>
                </c:pt>
                <c:pt idx="67">
                  <c:v>4</c:v>
                </c:pt>
                <c:pt idx="68">
                  <c:v>3</c:v>
                </c:pt>
                <c:pt idx="69">
                  <c:v>2</c:v>
                </c:pt>
                <c:pt idx="70">
                  <c:v>1</c:v>
                </c:pt>
                <c:pt idx="71">
                  <c:v>7</c:v>
                </c:pt>
                <c:pt idx="72">
                  <c:v>7</c:v>
                </c:pt>
                <c:pt idx="73">
                  <c:v>12</c:v>
                </c:pt>
                <c:pt idx="74">
                  <c:v>13</c:v>
                </c:pt>
                <c:pt idx="75">
                  <c:v>9</c:v>
                </c:pt>
                <c:pt idx="76">
                  <c:v>3</c:v>
                </c:pt>
                <c:pt idx="77">
                  <c:v>7</c:v>
                </c:pt>
                <c:pt idx="78">
                  <c:v>12</c:v>
                </c:pt>
                <c:pt idx="79">
                  <c:v>2</c:v>
                </c:pt>
                <c:pt idx="80">
                  <c:v>7</c:v>
                </c:pt>
                <c:pt idx="81">
                  <c:v>5</c:v>
                </c:pt>
                <c:pt idx="82">
                  <c:v>4</c:v>
                </c:pt>
                <c:pt idx="83">
                  <c:v>5</c:v>
                </c:pt>
                <c:pt idx="84">
                  <c:v>9</c:v>
                </c:pt>
                <c:pt idx="85">
                  <c:v>10</c:v>
                </c:pt>
                <c:pt idx="86">
                  <c:v>8</c:v>
                </c:pt>
                <c:pt idx="87">
                  <c:v>16</c:v>
                </c:pt>
                <c:pt idx="88">
                  <c:v>12</c:v>
                </c:pt>
                <c:pt idx="89">
                  <c:v>5</c:v>
                </c:pt>
                <c:pt idx="90">
                  <c:v>9</c:v>
                </c:pt>
                <c:pt idx="91">
                  <c:v>18</c:v>
                </c:pt>
                <c:pt idx="92">
                  <c:v>19</c:v>
                </c:pt>
                <c:pt idx="93">
                  <c:v>17</c:v>
                </c:pt>
                <c:pt idx="94">
                  <c:v>14</c:v>
                </c:pt>
                <c:pt idx="95">
                  <c:v>15</c:v>
                </c:pt>
                <c:pt idx="96">
                  <c:v>10</c:v>
                </c:pt>
                <c:pt idx="97">
                  <c:v>10</c:v>
                </c:pt>
                <c:pt idx="98">
                  <c:v>19</c:v>
                </c:pt>
                <c:pt idx="99">
                  <c:v>19</c:v>
                </c:pt>
                <c:pt idx="100">
                  <c:v>24</c:v>
                </c:pt>
                <c:pt idx="101">
                  <c:v>37</c:v>
                </c:pt>
                <c:pt idx="102">
                  <c:v>21</c:v>
                </c:pt>
                <c:pt idx="103">
                  <c:v>14</c:v>
                </c:pt>
                <c:pt idx="104">
                  <c:v>16</c:v>
                </c:pt>
                <c:pt idx="105">
                  <c:v>20</c:v>
                </c:pt>
                <c:pt idx="106">
                  <c:v>29</c:v>
                </c:pt>
                <c:pt idx="107">
                  <c:v>27</c:v>
                </c:pt>
                <c:pt idx="108">
                  <c:v>30</c:v>
                </c:pt>
                <c:pt idx="109">
                  <c:v>25</c:v>
                </c:pt>
                <c:pt idx="110">
                  <c:v>14</c:v>
                </c:pt>
                <c:pt idx="111">
                  <c:v>10</c:v>
                </c:pt>
                <c:pt idx="112">
                  <c:v>40</c:v>
                </c:pt>
                <c:pt idx="113">
                  <c:v>60</c:v>
                </c:pt>
                <c:pt idx="114">
                  <c:v>47</c:v>
                </c:pt>
                <c:pt idx="115">
                  <c:v>47</c:v>
                </c:pt>
                <c:pt idx="116">
                  <c:v>37</c:v>
                </c:pt>
                <c:pt idx="117">
                  <c:v>24</c:v>
                </c:pt>
                <c:pt idx="118">
                  <c:v>31</c:v>
                </c:pt>
                <c:pt idx="119">
                  <c:v>91</c:v>
                </c:pt>
                <c:pt idx="120">
                  <c:v>101</c:v>
                </c:pt>
                <c:pt idx="121">
                  <c:v>89</c:v>
                </c:pt>
                <c:pt idx="122">
                  <c:v>120</c:v>
                </c:pt>
                <c:pt idx="123">
                  <c:v>106</c:v>
                </c:pt>
                <c:pt idx="124">
                  <c:v>77</c:v>
                </c:pt>
                <c:pt idx="125">
                  <c:v>45</c:v>
                </c:pt>
                <c:pt idx="126">
                  <c:v>174</c:v>
                </c:pt>
                <c:pt idx="127">
                  <c:v>175</c:v>
                </c:pt>
                <c:pt idx="128">
                  <c:v>165</c:v>
                </c:pt>
                <c:pt idx="129">
                  <c:v>98</c:v>
                </c:pt>
                <c:pt idx="130">
                  <c:v>203</c:v>
                </c:pt>
                <c:pt idx="131">
                  <c:v>141</c:v>
                </c:pt>
                <c:pt idx="132">
                  <c:v>97</c:v>
                </c:pt>
                <c:pt idx="133">
                  <c:v>304</c:v>
                </c:pt>
                <c:pt idx="134">
                  <c:v>271</c:v>
                </c:pt>
                <c:pt idx="135">
                  <c:v>263</c:v>
                </c:pt>
                <c:pt idx="136">
                  <c:v>246</c:v>
                </c:pt>
                <c:pt idx="137">
                  <c:v>286</c:v>
                </c:pt>
                <c:pt idx="138">
                  <c:v>159</c:v>
                </c:pt>
                <c:pt idx="139">
                  <c:v>86</c:v>
                </c:pt>
                <c:pt idx="140">
                  <c:v>316</c:v>
                </c:pt>
                <c:pt idx="141">
                  <c:v>343</c:v>
                </c:pt>
                <c:pt idx="142">
                  <c:v>360</c:v>
                </c:pt>
                <c:pt idx="143">
                  <c:v>267</c:v>
                </c:pt>
                <c:pt idx="144">
                  <c:v>376</c:v>
                </c:pt>
                <c:pt idx="145">
                  <c:v>244</c:v>
                </c:pt>
                <c:pt idx="146">
                  <c:v>130</c:v>
                </c:pt>
                <c:pt idx="147">
                  <c:v>391</c:v>
                </c:pt>
                <c:pt idx="148">
                  <c:v>492</c:v>
                </c:pt>
                <c:pt idx="149">
                  <c:v>309</c:v>
                </c:pt>
                <c:pt idx="150">
                  <c:v>391</c:v>
                </c:pt>
                <c:pt idx="151">
                  <c:v>577</c:v>
                </c:pt>
                <c:pt idx="152">
                  <c:v>329</c:v>
                </c:pt>
                <c:pt idx="153">
                  <c:v>206</c:v>
                </c:pt>
                <c:pt idx="154">
                  <c:v>460</c:v>
                </c:pt>
                <c:pt idx="155">
                  <c:v>548</c:v>
                </c:pt>
                <c:pt idx="156">
                  <c:v>369</c:v>
                </c:pt>
                <c:pt idx="157">
                  <c:v>547</c:v>
                </c:pt>
                <c:pt idx="158">
                  <c:v>403</c:v>
                </c:pt>
                <c:pt idx="159">
                  <c:v>259</c:v>
                </c:pt>
                <c:pt idx="160">
                  <c:v>203</c:v>
                </c:pt>
                <c:pt idx="161">
                  <c:v>474</c:v>
                </c:pt>
                <c:pt idx="162">
                  <c:v>409</c:v>
                </c:pt>
                <c:pt idx="163">
                  <c:v>403</c:v>
                </c:pt>
                <c:pt idx="164">
                  <c:v>321</c:v>
                </c:pt>
                <c:pt idx="165">
                  <c:v>359</c:v>
                </c:pt>
                <c:pt idx="166">
                  <c:v>213</c:v>
                </c:pt>
                <c:pt idx="167">
                  <c:v>148</c:v>
                </c:pt>
                <c:pt idx="168">
                  <c:v>413</c:v>
                </c:pt>
                <c:pt idx="169">
                  <c:v>366</c:v>
                </c:pt>
                <c:pt idx="170">
                  <c:v>293</c:v>
                </c:pt>
                <c:pt idx="171">
                  <c:v>276</c:v>
                </c:pt>
                <c:pt idx="172">
                  <c:v>245</c:v>
                </c:pt>
                <c:pt idx="173">
                  <c:v>173</c:v>
                </c:pt>
                <c:pt idx="174">
                  <c:v>133</c:v>
                </c:pt>
                <c:pt idx="175">
                  <c:v>255</c:v>
                </c:pt>
                <c:pt idx="176">
                  <c:v>322</c:v>
                </c:pt>
                <c:pt idx="177">
                  <c:v>208</c:v>
                </c:pt>
                <c:pt idx="178">
                  <c:v>171</c:v>
                </c:pt>
                <c:pt idx="179">
                  <c:v>203</c:v>
                </c:pt>
                <c:pt idx="180">
                  <c:v>133</c:v>
                </c:pt>
                <c:pt idx="181">
                  <c:v>91</c:v>
                </c:pt>
                <c:pt idx="182">
                  <c:v>223</c:v>
                </c:pt>
                <c:pt idx="183">
                  <c:v>211</c:v>
                </c:pt>
                <c:pt idx="184">
                  <c:v>118</c:v>
                </c:pt>
                <c:pt idx="185">
                  <c:v>160</c:v>
                </c:pt>
                <c:pt idx="186">
                  <c:v>48</c:v>
                </c:pt>
                <c:pt idx="187">
                  <c:v>44</c:v>
                </c:pt>
                <c:pt idx="188">
                  <c:v>48</c:v>
                </c:pt>
                <c:pt idx="189">
                  <c:v>171</c:v>
                </c:pt>
                <c:pt idx="190">
                  <c:v>220</c:v>
                </c:pt>
                <c:pt idx="191">
                  <c:v>150</c:v>
                </c:pt>
                <c:pt idx="192">
                  <c:v>142</c:v>
                </c:pt>
                <c:pt idx="193">
                  <c:v>149</c:v>
                </c:pt>
                <c:pt idx="194">
                  <c:v>34</c:v>
                </c:pt>
                <c:pt idx="195">
                  <c:v>90</c:v>
                </c:pt>
                <c:pt idx="196">
                  <c:v>239</c:v>
                </c:pt>
                <c:pt idx="197">
                  <c:v>207</c:v>
                </c:pt>
                <c:pt idx="198">
                  <c:v>161</c:v>
                </c:pt>
                <c:pt idx="199">
                  <c:v>163</c:v>
                </c:pt>
                <c:pt idx="200">
                  <c:v>163</c:v>
                </c:pt>
                <c:pt idx="201">
                  <c:v>90</c:v>
                </c:pt>
                <c:pt idx="202">
                  <c:v>75</c:v>
                </c:pt>
                <c:pt idx="203">
                  <c:v>193</c:v>
                </c:pt>
                <c:pt idx="204">
                  <c:v>274</c:v>
                </c:pt>
                <c:pt idx="205">
                  <c:v>311</c:v>
                </c:pt>
                <c:pt idx="206">
                  <c:v>237</c:v>
                </c:pt>
                <c:pt idx="207">
                  <c:v>279</c:v>
                </c:pt>
                <c:pt idx="208">
                  <c:v>212</c:v>
                </c:pt>
                <c:pt idx="209">
                  <c:v>189</c:v>
                </c:pt>
                <c:pt idx="210">
                  <c:v>586</c:v>
                </c:pt>
                <c:pt idx="211">
                  <c:v>629</c:v>
                </c:pt>
                <c:pt idx="212">
                  <c:v>738</c:v>
                </c:pt>
                <c:pt idx="213">
                  <c:v>715</c:v>
                </c:pt>
                <c:pt idx="214">
                  <c:v>687</c:v>
                </c:pt>
                <c:pt idx="215">
                  <c:v>416</c:v>
                </c:pt>
                <c:pt idx="216">
                  <c:v>446</c:v>
                </c:pt>
                <c:pt idx="217">
                  <c:v>990</c:v>
                </c:pt>
                <c:pt idx="218">
                  <c:v>914</c:v>
                </c:pt>
                <c:pt idx="219">
                  <c:v>1064</c:v>
                </c:pt>
                <c:pt idx="220">
                  <c:v>1676</c:v>
                </c:pt>
                <c:pt idx="221">
                  <c:v>1346</c:v>
                </c:pt>
                <c:pt idx="222">
                  <c:v>510</c:v>
                </c:pt>
                <c:pt idx="223">
                  <c:v>680</c:v>
                </c:pt>
                <c:pt idx="224">
                  <c:v>1371</c:v>
                </c:pt>
                <c:pt idx="225">
                  <c:v>1605</c:v>
                </c:pt>
                <c:pt idx="226">
                  <c:v>1269</c:v>
                </c:pt>
                <c:pt idx="227">
                  <c:v>1182</c:v>
                </c:pt>
                <c:pt idx="228">
                  <c:v>976</c:v>
                </c:pt>
                <c:pt idx="229">
                  <c:v>701</c:v>
                </c:pt>
                <c:pt idx="230">
                  <c:v>384</c:v>
                </c:pt>
                <c:pt idx="231">
                  <c:v>1365</c:v>
                </c:pt>
                <c:pt idx="232">
                  <c:v>1163</c:v>
                </c:pt>
                <c:pt idx="233">
                  <c:v>957</c:v>
                </c:pt>
                <c:pt idx="234">
                  <c:v>835</c:v>
                </c:pt>
                <c:pt idx="235">
                  <c:v>768</c:v>
                </c:pt>
                <c:pt idx="236">
                  <c:v>414</c:v>
                </c:pt>
                <c:pt idx="237">
                  <c:v>320</c:v>
                </c:pt>
                <c:pt idx="238">
                  <c:v>915</c:v>
                </c:pt>
                <c:pt idx="239">
                  <c:v>885</c:v>
                </c:pt>
                <c:pt idx="240">
                  <c:v>656</c:v>
                </c:pt>
                <c:pt idx="241">
                  <c:v>583</c:v>
                </c:pt>
                <c:pt idx="242">
                  <c:v>504</c:v>
                </c:pt>
                <c:pt idx="243">
                  <c:v>2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F-460A-A36A-554DEDA2A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1486627194877481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85</c:f>
              <c:numCache>
                <c:formatCode>m/d/yyyy</c:formatCode>
                <c:ptCount val="3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</c:numCache>
            </c:numRef>
          </c:cat>
          <c:val>
            <c:numRef>
              <c:f>List1!$B$2:$B$385</c:f>
              <c:numCache>
                <c:formatCode>General</c:formatCode>
                <c:ptCount val="384"/>
                <c:pt idx="0">
                  <c:v>81.157584275223002</c:v>
                </c:pt>
                <c:pt idx="1">
                  <c:v>64.300928344651993</c:v>
                </c:pt>
                <c:pt idx="2">
                  <c:v>55.001018537379998</c:v>
                </c:pt>
                <c:pt idx="3">
                  <c:v>78.179648603052996</c:v>
                </c:pt>
                <c:pt idx="4">
                  <c:v>53.762329149521001</c:v>
                </c:pt>
                <c:pt idx="5">
                  <c:v>35.351854932622999</c:v>
                </c:pt>
                <c:pt idx="6">
                  <c:v>33.470702675563999</c:v>
                </c:pt>
                <c:pt idx="7">
                  <c:v>42.694902228673001</c:v>
                </c:pt>
                <c:pt idx="8">
                  <c:v>50.371213946255999</c:v>
                </c:pt>
                <c:pt idx="9">
                  <c:v>69.641011816507003</c:v>
                </c:pt>
                <c:pt idx="10">
                  <c:v>62.498553274229003</c:v>
                </c:pt>
                <c:pt idx="11">
                  <c:v>64.762178887529004</c:v>
                </c:pt>
                <c:pt idx="12">
                  <c:v>28.93448749789</c:v>
                </c:pt>
                <c:pt idx="13">
                  <c:v>19.380783952710001</c:v>
                </c:pt>
                <c:pt idx="14">
                  <c:v>60.183559857565001</c:v>
                </c:pt>
                <c:pt idx="15">
                  <c:v>88.977284622631004</c:v>
                </c:pt>
                <c:pt idx="16">
                  <c:v>35.386667392546997</c:v>
                </c:pt>
                <c:pt idx="17">
                  <c:v>79.844872818523996</c:v>
                </c:pt>
                <c:pt idx="18">
                  <c:v>68.344575520755001</c:v>
                </c:pt>
                <c:pt idx="19">
                  <c:v>38.980509745127002</c:v>
                </c:pt>
                <c:pt idx="20">
                  <c:v>24.139283666756999</c:v>
                </c:pt>
                <c:pt idx="21">
                  <c:v>103.992688998834</c:v>
                </c:pt>
                <c:pt idx="22">
                  <c:v>97.917618643514004</c:v>
                </c:pt>
                <c:pt idx="23">
                  <c:v>77.61093301839</c:v>
                </c:pt>
                <c:pt idx="24">
                  <c:v>115.08683825068</c:v>
                </c:pt>
                <c:pt idx="25">
                  <c:v>136.513866934904</c:v>
                </c:pt>
                <c:pt idx="26">
                  <c:v>75.825961364866998</c:v>
                </c:pt>
                <c:pt idx="27">
                  <c:v>57.853630315301999</c:v>
                </c:pt>
                <c:pt idx="28">
                  <c:v>99.940775836540993</c:v>
                </c:pt>
                <c:pt idx="29">
                  <c:v>154.60613145292001</c:v>
                </c:pt>
                <c:pt idx="30">
                  <c:v>122.254059216809</c:v>
                </c:pt>
                <c:pt idx="31">
                  <c:v>69.743112867603998</c:v>
                </c:pt>
                <c:pt idx="32">
                  <c:v>90.323594093622006</c:v>
                </c:pt>
                <c:pt idx="33">
                  <c:v>31.462618476422001</c:v>
                </c:pt>
                <c:pt idx="34">
                  <c:v>31.514674020089998</c:v>
                </c:pt>
                <c:pt idx="35">
                  <c:v>79.538675681049</c:v>
                </c:pt>
                <c:pt idx="36">
                  <c:v>68.473838965642003</c:v>
                </c:pt>
                <c:pt idx="37">
                  <c:v>77.260897852959999</c:v>
                </c:pt>
                <c:pt idx="38">
                  <c:v>24.612355402412</c:v>
                </c:pt>
                <c:pt idx="39">
                  <c:v>70.524787388508003</c:v>
                </c:pt>
                <c:pt idx="40">
                  <c:v>37.359900373598997</c:v>
                </c:pt>
                <c:pt idx="41">
                  <c:v>16.614745586708001</c:v>
                </c:pt>
                <c:pt idx="42">
                  <c:v>91.965554719504993</c:v>
                </c:pt>
                <c:pt idx="43">
                  <c:v>109.38617527031001</c:v>
                </c:pt>
                <c:pt idx="44">
                  <c:v>29.634647136022998</c:v>
                </c:pt>
                <c:pt idx="45">
                  <c:v>42.591251756889001</c:v>
                </c:pt>
                <c:pt idx="46">
                  <c:v>38.744672607516002</c:v>
                </c:pt>
                <c:pt idx="47">
                  <c:v>21.533161068043999</c:v>
                </c:pt>
                <c:pt idx="48">
                  <c:v>21.539654503941001</c:v>
                </c:pt>
                <c:pt idx="49">
                  <c:v>30.403057678943</c:v>
                </c:pt>
                <c:pt idx="50">
                  <c:v>65.590974681882997</c:v>
                </c:pt>
                <c:pt idx="51">
                  <c:v>26.439871325959</c:v>
                </c:pt>
                <c:pt idx="52">
                  <c:v>35.62205004898</c:v>
                </c:pt>
                <c:pt idx="53">
                  <c:v>36.078289889059</c:v>
                </c:pt>
                <c:pt idx="54">
                  <c:v>40.672451193058002</c:v>
                </c:pt>
                <c:pt idx="55">
                  <c:v>4.5347360783599999</c:v>
                </c:pt>
                <c:pt idx="56">
                  <c:v>59.756377844173002</c:v>
                </c:pt>
                <c:pt idx="57">
                  <c:v>51.301184590989003</c:v>
                </c:pt>
                <c:pt idx="58">
                  <c:v>23.672000757504001</c:v>
                </c:pt>
                <c:pt idx="59">
                  <c:v>28.850314949270999</c:v>
                </c:pt>
                <c:pt idx="60">
                  <c:v>19.669551534225</c:v>
                </c:pt>
                <c:pt idx="61">
                  <c:v>14.783422855171001</c:v>
                </c:pt>
                <c:pt idx="62">
                  <c:v>19.743336623889</c:v>
                </c:pt>
                <c:pt idx="63">
                  <c:v>25.042572373034002</c:v>
                </c:pt>
                <c:pt idx="64">
                  <c:v>45.799195969670002</c:v>
                </c:pt>
                <c:pt idx="65">
                  <c:v>10.383676859975999</c:v>
                </c:pt>
                <c:pt idx="66">
                  <c:v>5.2971713105199996</c:v>
                </c:pt>
                <c:pt idx="67">
                  <c:v>10.863070990168</c:v>
                </c:pt>
                <c:pt idx="68">
                  <c:v>10.908099263703001</c:v>
                </c:pt>
                <c:pt idx="69">
                  <c:v>5.469262743382</c:v>
                </c:pt>
                <c:pt idx="70">
                  <c:v>16.677785190125999</c:v>
                </c:pt>
                <c:pt idx="71">
                  <c:v>11.330160888284</c:v>
                </c:pt>
                <c:pt idx="72">
                  <c:v>51.888152205246001</c:v>
                </c:pt>
                <c:pt idx="73">
                  <c:v>17.666804075142</c:v>
                </c:pt>
                <c:pt idx="74">
                  <c:v>17.767249037607002</c:v>
                </c:pt>
                <c:pt idx="75">
                  <c:v>5.9577003276729998</c:v>
                </c:pt>
                <c:pt idx="76">
                  <c:v>11.951715071112</c:v>
                </c:pt>
                <c:pt idx="77">
                  <c:v>35.923841456113003</c:v>
                </c:pt>
                <c:pt idx="78">
                  <c:v>24.400658817787999</c:v>
                </c:pt>
                <c:pt idx="79">
                  <c:v>30.936765251825001</c:v>
                </c:pt>
                <c:pt idx="80">
                  <c:v>6.294058408862</c:v>
                </c:pt>
                <c:pt idx="81">
                  <c:v>19.197542714531998</c:v>
                </c:pt>
                <c:pt idx="82">
                  <c:v>6.4395646854270003</c:v>
                </c:pt>
                <c:pt idx="83">
                  <c:v>6.460783046905</c:v>
                </c:pt>
                <c:pt idx="84">
                  <c:v>13.060798014757999</c:v>
                </c:pt>
                <c:pt idx="85">
                  <c:v>6.5984823490590001</c:v>
                </c:pt>
                <c:pt idx="86">
                  <c:v>40.077483134059001</c:v>
                </c:pt>
                <c:pt idx="87">
                  <c:v>13.515339910798</c:v>
                </c:pt>
                <c:pt idx="88">
                  <c:v>20.542317173377</c:v>
                </c:pt>
                <c:pt idx="89">
                  <c:v>6.8615342390549996</c:v>
                </c:pt>
                <c:pt idx="90">
                  <c:v>0</c:v>
                </c:pt>
                <c:pt idx="91">
                  <c:v>6.9185000691849998</c:v>
                </c:pt>
                <c:pt idx="92">
                  <c:v>6.9725282387389997</c:v>
                </c:pt>
                <c:pt idx="93">
                  <c:v>7.0116393212729999</c:v>
                </c:pt>
                <c:pt idx="94">
                  <c:v>0</c:v>
                </c:pt>
                <c:pt idx="95">
                  <c:v>0</c:v>
                </c:pt>
                <c:pt idx="96">
                  <c:v>7.1235218692120004</c:v>
                </c:pt>
                <c:pt idx="97">
                  <c:v>7.1321589044999998</c:v>
                </c:pt>
                <c:pt idx="98">
                  <c:v>0</c:v>
                </c:pt>
                <c:pt idx="99">
                  <c:v>14.341029685931</c:v>
                </c:pt>
                <c:pt idx="100">
                  <c:v>0</c:v>
                </c:pt>
                <c:pt idx="101">
                  <c:v>14.479113878230001</c:v>
                </c:pt>
                <c:pt idx="102">
                  <c:v>14.559219625828</c:v>
                </c:pt>
                <c:pt idx="103">
                  <c:v>7.2859744990889999</c:v>
                </c:pt>
                <c:pt idx="104">
                  <c:v>0</c:v>
                </c:pt>
                <c:pt idx="105">
                  <c:v>14.63378941977</c:v>
                </c:pt>
                <c:pt idx="106">
                  <c:v>14.675667742882</c:v>
                </c:pt>
                <c:pt idx="107">
                  <c:v>22.068559658672001</c:v>
                </c:pt>
                <c:pt idx="108">
                  <c:v>7.3751751604100004</c:v>
                </c:pt>
                <c:pt idx="109">
                  <c:v>7.4167470147590002</c:v>
                </c:pt>
                <c:pt idx="110">
                  <c:v>0</c:v>
                </c:pt>
                <c:pt idx="111">
                  <c:v>7.4404761904759997</c:v>
                </c:pt>
                <c:pt idx="112">
                  <c:v>0</c:v>
                </c:pt>
                <c:pt idx="113">
                  <c:v>7.4889537931549999</c:v>
                </c:pt>
                <c:pt idx="114">
                  <c:v>15.025167154984</c:v>
                </c:pt>
                <c:pt idx="115">
                  <c:v>0</c:v>
                </c:pt>
                <c:pt idx="116">
                  <c:v>15.14577811435</c:v>
                </c:pt>
                <c:pt idx="117">
                  <c:v>0</c:v>
                </c:pt>
                <c:pt idx="118">
                  <c:v>7.6359193646910004</c:v>
                </c:pt>
                <c:pt idx="119">
                  <c:v>0</c:v>
                </c:pt>
                <c:pt idx="120">
                  <c:v>15.514700178419</c:v>
                </c:pt>
                <c:pt idx="121">
                  <c:v>0</c:v>
                </c:pt>
                <c:pt idx="122">
                  <c:v>7.9113924050630002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16.579623642543002</c:v>
                </c:pt>
                <c:pt idx="131">
                  <c:v>0</c:v>
                </c:pt>
                <c:pt idx="132">
                  <c:v>0</c:v>
                </c:pt>
                <c:pt idx="133">
                  <c:v>8.4738581476139991</c:v>
                </c:pt>
                <c:pt idx="135">
                  <c:v>0</c:v>
                </c:pt>
                <c:pt idx="136">
                  <c:v>0</c:v>
                </c:pt>
                <c:pt idx="137">
                  <c:v>8.7351502445840001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9.9314728374209995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20.302507359658001</c:v>
                </c:pt>
                <c:pt idx="167">
                  <c:v>0</c:v>
                </c:pt>
                <c:pt idx="168">
                  <c:v>20.312817387770998</c:v>
                </c:pt>
                <c:pt idx="169">
                  <c:v>0</c:v>
                </c:pt>
                <c:pt idx="170">
                  <c:v>10.218679746576001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10.362694300517999</c:v>
                </c:pt>
                <c:pt idx="175">
                  <c:v>10.413412475268</c:v>
                </c:pt>
                <c:pt idx="176">
                  <c:v>10.464629552112999</c:v>
                </c:pt>
                <c:pt idx="177">
                  <c:v>0</c:v>
                </c:pt>
                <c:pt idx="178">
                  <c:v>21.148355715343001</c:v>
                </c:pt>
                <c:pt idx="179">
                  <c:v>21.274332517817001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43.402777777776997</c:v>
                </c:pt>
                <c:pt idx="185">
                  <c:v>0</c:v>
                </c:pt>
                <c:pt idx="186">
                  <c:v>21.884232410548002</c:v>
                </c:pt>
                <c:pt idx="187">
                  <c:v>0</c:v>
                </c:pt>
                <c:pt idx="188">
                  <c:v>10.964912280701</c:v>
                </c:pt>
                <c:pt idx="189">
                  <c:v>11.007154650522001</c:v>
                </c:pt>
                <c:pt idx="190">
                  <c:v>0</c:v>
                </c:pt>
                <c:pt idx="191">
                  <c:v>22.182786157940999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22.484541877459002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1.424654404204</c:v>
                </c:pt>
                <c:pt idx="201">
                  <c:v>0</c:v>
                </c:pt>
                <c:pt idx="202">
                  <c:v>0</c:v>
                </c:pt>
                <c:pt idx="203">
                  <c:v>11.478420569329</c:v>
                </c:pt>
                <c:pt idx="204">
                  <c:v>0</c:v>
                </c:pt>
                <c:pt idx="205">
                  <c:v>0</c:v>
                </c:pt>
                <c:pt idx="206">
                  <c:v>11.611704598235001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11.791062374719001</c:v>
                </c:pt>
                <c:pt idx="213">
                  <c:v>11.828720132480999</c:v>
                </c:pt>
                <c:pt idx="214">
                  <c:v>0</c:v>
                </c:pt>
                <c:pt idx="215">
                  <c:v>23.738872403559999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1.957431543704001</c:v>
                </c:pt>
                <c:pt idx="223">
                  <c:v>0</c:v>
                </c:pt>
                <c:pt idx="224">
                  <c:v>0</c:v>
                </c:pt>
                <c:pt idx="225">
                  <c:v>11.957431543704001</c:v>
                </c:pt>
                <c:pt idx="226">
                  <c:v>0</c:v>
                </c:pt>
                <c:pt idx="227">
                  <c:v>0</c:v>
                </c:pt>
                <c:pt idx="228">
                  <c:v>11.954572624028</c:v>
                </c:pt>
                <c:pt idx="229">
                  <c:v>11.937447773664999</c:v>
                </c:pt>
                <c:pt idx="230">
                  <c:v>0</c:v>
                </c:pt>
                <c:pt idx="231">
                  <c:v>0</c:v>
                </c:pt>
                <c:pt idx="232">
                  <c:v>11.907597046915001</c:v>
                </c:pt>
                <c:pt idx="233">
                  <c:v>23.820867079561001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11.889192723814</c:v>
                </c:pt>
                <c:pt idx="238">
                  <c:v>23.747328425551999</c:v>
                </c:pt>
                <c:pt idx="239">
                  <c:v>11.868027533823</c:v>
                </c:pt>
                <c:pt idx="240">
                  <c:v>11.859582542694</c:v>
                </c:pt>
                <c:pt idx="241">
                  <c:v>11.869436201779999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1.913271384322</c:v>
                </c:pt>
                <c:pt idx="248">
                  <c:v>11.947431302269999</c:v>
                </c:pt>
                <c:pt idx="249">
                  <c:v>11.980352222355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23.992322456813</c:v>
                </c:pt>
                <c:pt idx="254">
                  <c:v>12.032246420406</c:v>
                </c:pt>
                <c:pt idx="255">
                  <c:v>36.144578313253</c:v>
                </c:pt>
                <c:pt idx="256">
                  <c:v>12.071463061323</c:v>
                </c:pt>
                <c:pt idx="257">
                  <c:v>0</c:v>
                </c:pt>
                <c:pt idx="258">
                  <c:v>24.134186074574</c:v>
                </c:pt>
                <c:pt idx="259">
                  <c:v>36.223134508572002</c:v>
                </c:pt>
                <c:pt idx="260">
                  <c:v>60.47411707789</c:v>
                </c:pt>
                <c:pt idx="261">
                  <c:v>24.218939210462</c:v>
                </c:pt>
                <c:pt idx="262">
                  <c:v>36.398932297984999</c:v>
                </c:pt>
                <c:pt idx="263">
                  <c:v>60.716454159077003</c:v>
                </c:pt>
                <c:pt idx="264">
                  <c:v>60.716454159077003</c:v>
                </c:pt>
                <c:pt idx="265">
                  <c:v>48.567265662943001</c:v>
                </c:pt>
                <c:pt idx="266">
                  <c:v>73.019350127782999</c:v>
                </c:pt>
                <c:pt idx="267">
                  <c:v>36.536353671903001</c:v>
                </c:pt>
                <c:pt idx="268">
                  <c:v>73.117231294174005</c:v>
                </c:pt>
                <c:pt idx="269">
                  <c:v>85.376265398219005</c:v>
                </c:pt>
                <c:pt idx="270">
                  <c:v>97.763656360747007</c:v>
                </c:pt>
                <c:pt idx="271">
                  <c:v>85.585034845335002</c:v>
                </c:pt>
                <c:pt idx="272">
                  <c:v>24.449877750611002</c:v>
                </c:pt>
                <c:pt idx="273">
                  <c:v>159.19666911584599</c:v>
                </c:pt>
                <c:pt idx="274">
                  <c:v>147.04080382306</c:v>
                </c:pt>
                <c:pt idx="275">
                  <c:v>147.27540500736299</c:v>
                </c:pt>
                <c:pt idx="276">
                  <c:v>73.791661542244995</c:v>
                </c:pt>
                <c:pt idx="277">
                  <c:v>160.39481801357101</c:v>
                </c:pt>
                <c:pt idx="278">
                  <c:v>37.055335968378998</c:v>
                </c:pt>
                <c:pt idx="279">
                  <c:v>49.419322955275</c:v>
                </c:pt>
                <c:pt idx="280">
                  <c:v>160.970777612679</c:v>
                </c:pt>
                <c:pt idx="281">
                  <c:v>74.469405485912006</c:v>
                </c:pt>
                <c:pt idx="282">
                  <c:v>149.420993649607</c:v>
                </c:pt>
                <c:pt idx="283">
                  <c:v>174.411361654416</c:v>
                </c:pt>
                <c:pt idx="284">
                  <c:v>124.812780828756</c:v>
                </c:pt>
                <c:pt idx="285">
                  <c:v>162.39850093691399</c:v>
                </c:pt>
                <c:pt idx="286">
                  <c:v>50</c:v>
                </c:pt>
                <c:pt idx="287">
                  <c:v>250.783699059561</c:v>
                </c:pt>
                <c:pt idx="288">
                  <c:v>276.486112856604</c:v>
                </c:pt>
                <c:pt idx="289">
                  <c:v>188.916876574307</c:v>
                </c:pt>
                <c:pt idx="290">
                  <c:v>240.02021222839801</c:v>
                </c:pt>
                <c:pt idx="291">
                  <c:v>406.24603275358601</c:v>
                </c:pt>
                <c:pt idx="292">
                  <c:v>241.60732451678501</c:v>
                </c:pt>
                <c:pt idx="293">
                  <c:v>152.78838808250501</c:v>
                </c:pt>
                <c:pt idx="294">
                  <c:v>204.21186981493199</c:v>
                </c:pt>
                <c:pt idx="295">
                  <c:v>204.55126566095601</c:v>
                </c:pt>
                <c:pt idx="296">
                  <c:v>140.91724314629701</c:v>
                </c:pt>
                <c:pt idx="297">
                  <c:v>321.50205761316801</c:v>
                </c:pt>
                <c:pt idx="298">
                  <c:v>193.57336430507101</c:v>
                </c:pt>
                <c:pt idx="299">
                  <c:v>64.591138095852997</c:v>
                </c:pt>
                <c:pt idx="300">
                  <c:v>103.41261633919299</c:v>
                </c:pt>
                <c:pt idx="301">
                  <c:v>181.582360570687</c:v>
                </c:pt>
                <c:pt idx="302">
                  <c:v>143.303804064616</c:v>
                </c:pt>
                <c:pt idx="303">
                  <c:v>169.57996347508401</c:v>
                </c:pt>
                <c:pt idx="304">
                  <c:v>157.06806282722499</c:v>
                </c:pt>
                <c:pt idx="305">
                  <c:v>171.075141465982</c:v>
                </c:pt>
                <c:pt idx="306">
                  <c:v>144.88935721812399</c:v>
                </c:pt>
                <c:pt idx="307">
                  <c:v>26.378264310207999</c:v>
                </c:pt>
                <c:pt idx="308">
                  <c:v>132.48542660307299</c:v>
                </c:pt>
                <c:pt idx="309">
                  <c:v>119.680851063829</c:v>
                </c:pt>
                <c:pt idx="310">
                  <c:v>66.862797539449005</c:v>
                </c:pt>
                <c:pt idx="311">
                  <c:v>121.049092131809</c:v>
                </c:pt>
                <c:pt idx="312">
                  <c:v>148.86994180538599</c:v>
                </c:pt>
                <c:pt idx="313">
                  <c:v>67.759859059492996</c:v>
                </c:pt>
                <c:pt idx="314">
                  <c:v>54.252000542520001</c:v>
                </c:pt>
                <c:pt idx="315">
                  <c:v>108.873162765378</c:v>
                </c:pt>
                <c:pt idx="316">
                  <c:v>54.637344625051</c:v>
                </c:pt>
                <c:pt idx="317">
                  <c:v>109.69422734128599</c:v>
                </c:pt>
                <c:pt idx="318">
                  <c:v>68.756875687567998</c:v>
                </c:pt>
                <c:pt idx="319">
                  <c:v>110.51250172675699</c:v>
                </c:pt>
                <c:pt idx="320">
                  <c:v>110.634766975522</c:v>
                </c:pt>
                <c:pt idx="321">
                  <c:v>41.522491349479999</c:v>
                </c:pt>
                <c:pt idx="322">
                  <c:v>124.87859025946899</c:v>
                </c:pt>
                <c:pt idx="323">
                  <c:v>195.149149707276</c:v>
                </c:pt>
                <c:pt idx="324">
                  <c:v>97.779019416118999</c:v>
                </c:pt>
                <c:pt idx="325">
                  <c:v>98.052948592239005</c:v>
                </c:pt>
                <c:pt idx="326">
                  <c:v>14.090460758066</c:v>
                </c:pt>
                <c:pt idx="327">
                  <c:v>70.571630204656998</c:v>
                </c:pt>
                <c:pt idx="328">
                  <c:v>14.128284826222</c:v>
                </c:pt>
                <c:pt idx="329">
                  <c:v>42.535091450445996</c:v>
                </c:pt>
                <c:pt idx="330">
                  <c:v>85.372794536141001</c:v>
                </c:pt>
                <c:pt idx="331">
                  <c:v>114.122681883024</c:v>
                </c:pt>
                <c:pt idx="332">
                  <c:v>42.986101160624003</c:v>
                </c:pt>
                <c:pt idx="333">
                  <c:v>86.368216496328998</c:v>
                </c:pt>
                <c:pt idx="334">
                  <c:v>28.876696505919</c:v>
                </c:pt>
                <c:pt idx="335">
                  <c:v>72.327498915087006</c:v>
                </c:pt>
                <c:pt idx="336">
                  <c:v>43.560331058515999</c:v>
                </c:pt>
                <c:pt idx="337">
                  <c:v>58.360081704114002</c:v>
                </c:pt>
                <c:pt idx="338">
                  <c:v>29.321213898254999</c:v>
                </c:pt>
                <c:pt idx="339">
                  <c:v>58.806233460746</c:v>
                </c:pt>
                <c:pt idx="340">
                  <c:v>44.169611307419999</c:v>
                </c:pt>
                <c:pt idx="341">
                  <c:v>29.489826010026</c:v>
                </c:pt>
                <c:pt idx="342">
                  <c:v>44.300059066745</c:v>
                </c:pt>
                <c:pt idx="343">
                  <c:v>44.437861057620999</c:v>
                </c:pt>
                <c:pt idx="344">
                  <c:v>163.52014270848801</c:v>
                </c:pt>
                <c:pt idx="345">
                  <c:v>74.604595643091002</c:v>
                </c:pt>
                <c:pt idx="346">
                  <c:v>74.850299401197006</c:v>
                </c:pt>
                <c:pt idx="347">
                  <c:v>104.947526236881</c:v>
                </c:pt>
                <c:pt idx="348">
                  <c:v>75.086349301696004</c:v>
                </c:pt>
                <c:pt idx="349">
                  <c:v>105.278989321702</c:v>
                </c:pt>
                <c:pt idx="350">
                  <c:v>135.869565217391</c:v>
                </c:pt>
                <c:pt idx="351">
                  <c:v>181.79063778215399</c:v>
                </c:pt>
                <c:pt idx="352">
                  <c:v>395.31701383609499</c:v>
                </c:pt>
                <c:pt idx="353">
                  <c:v>274.76721111280699</c:v>
                </c:pt>
                <c:pt idx="354">
                  <c:v>245.36114092930501</c:v>
                </c:pt>
                <c:pt idx="355">
                  <c:v>138.33384568090901</c:v>
                </c:pt>
                <c:pt idx="356">
                  <c:v>153.91719255040701</c:v>
                </c:pt>
                <c:pt idx="357">
                  <c:v>370.59913526868399</c:v>
                </c:pt>
                <c:pt idx="358">
                  <c:v>263.239393000929</c:v>
                </c:pt>
                <c:pt idx="359">
                  <c:v>419.25465838509302</c:v>
                </c:pt>
                <c:pt idx="360">
                  <c:v>498.44236760124602</c:v>
                </c:pt>
                <c:pt idx="361">
                  <c:v>250</c:v>
                </c:pt>
                <c:pt idx="362">
                  <c:v>219.16092673763299</c:v>
                </c:pt>
                <c:pt idx="363">
                  <c:v>156.78896205707099</c:v>
                </c:pt>
                <c:pt idx="364">
                  <c:v>408.74076403081199</c:v>
                </c:pt>
                <c:pt idx="365">
                  <c:v>472.21784983472298</c:v>
                </c:pt>
                <c:pt idx="366">
                  <c:v>378.48919728749399</c:v>
                </c:pt>
                <c:pt idx="367">
                  <c:v>315.85596967782601</c:v>
                </c:pt>
                <c:pt idx="368">
                  <c:v>363.75138383678598</c:v>
                </c:pt>
                <c:pt idx="369">
                  <c:v>205.72875454977</c:v>
                </c:pt>
                <c:pt idx="370">
                  <c:v>95.011876484560005</c:v>
                </c:pt>
                <c:pt idx="371">
                  <c:v>206.054842288793</c:v>
                </c:pt>
                <c:pt idx="372">
                  <c:v>317.409934930963</c:v>
                </c:pt>
                <c:pt idx="373">
                  <c:v>333.70411568409298</c:v>
                </c:pt>
                <c:pt idx="374">
                  <c:v>270.48528241845599</c:v>
                </c:pt>
                <c:pt idx="375">
                  <c:v>286.944045911047</c:v>
                </c:pt>
                <c:pt idx="376">
                  <c:v>31.903014834901001</c:v>
                </c:pt>
                <c:pt idx="377">
                  <c:v>15.959144589849</c:v>
                </c:pt>
                <c:pt idx="378">
                  <c:v>351.774864086984</c:v>
                </c:pt>
                <c:pt idx="379">
                  <c:v>192.15372297838201</c:v>
                </c:pt>
                <c:pt idx="380">
                  <c:v>32.082130253448</c:v>
                </c:pt>
                <c:pt idx="381">
                  <c:v>80.321285140561997</c:v>
                </c:pt>
                <c:pt idx="382">
                  <c:v>144.78764478764401</c:v>
                </c:pt>
                <c:pt idx="383">
                  <c:v>80.502334567701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46D-4FF1-A45D-1ECFD79ADBFD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85</c:f>
              <c:numCache>
                <c:formatCode>m/d/yyyy</c:formatCode>
                <c:ptCount val="3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</c:numCache>
            </c:numRef>
          </c:cat>
          <c:val>
            <c:numRef>
              <c:f>List1!$C$2:$C$385</c:f>
              <c:numCache>
                <c:formatCode>General</c:formatCode>
                <c:ptCount val="38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.9489758132099999</c:v>
                </c:pt>
                <c:pt idx="11">
                  <c:v>1.949089775075</c:v>
                </c:pt>
                <c:pt idx="12">
                  <c:v>0</c:v>
                </c:pt>
                <c:pt idx="13">
                  <c:v>0</c:v>
                </c:pt>
                <c:pt idx="14">
                  <c:v>1.9494317406470001</c:v>
                </c:pt>
                <c:pt idx="15">
                  <c:v>5.8485232478790001</c:v>
                </c:pt>
                <c:pt idx="16">
                  <c:v>1.9496217733750001</c:v>
                </c:pt>
                <c:pt idx="17">
                  <c:v>3.899471621595</c:v>
                </c:pt>
                <c:pt idx="18">
                  <c:v>0</c:v>
                </c:pt>
                <c:pt idx="19">
                  <c:v>3.8999278513340001</c:v>
                </c:pt>
                <c:pt idx="20">
                  <c:v>1.95007800312</c:v>
                </c:pt>
                <c:pt idx="21">
                  <c:v>5.8505762817629998</c:v>
                </c:pt>
                <c:pt idx="22">
                  <c:v>3.9006123961460002</c:v>
                </c:pt>
                <c:pt idx="23">
                  <c:v>5.8512609467340004</c:v>
                </c:pt>
                <c:pt idx="24">
                  <c:v>7.8021377857529997</c:v>
                </c:pt>
                <c:pt idx="25">
                  <c:v>3.9012971813120001</c:v>
                </c:pt>
                <c:pt idx="26">
                  <c:v>3.901525496469</c:v>
                </c:pt>
                <c:pt idx="27">
                  <c:v>5.8526307575249996</c:v>
                </c:pt>
                <c:pt idx="28">
                  <c:v>7.8039644139220004</c:v>
                </c:pt>
                <c:pt idx="29">
                  <c:v>1.951143370014</c:v>
                </c:pt>
                <c:pt idx="30">
                  <c:v>5.8537727565409998</c:v>
                </c:pt>
                <c:pt idx="31">
                  <c:v>3.9025913206360001</c:v>
                </c:pt>
                <c:pt idx="32">
                  <c:v>1.9513337366079999</c:v>
                </c:pt>
                <c:pt idx="33">
                  <c:v>3.9026674732169999</c:v>
                </c:pt>
                <c:pt idx="34">
                  <c:v>0</c:v>
                </c:pt>
                <c:pt idx="35">
                  <c:v>5.8541154431560001</c:v>
                </c:pt>
                <c:pt idx="36">
                  <c:v>7.805639574592</c:v>
                </c:pt>
                <c:pt idx="37">
                  <c:v>3.9028959487939998</c:v>
                </c:pt>
                <c:pt idx="38">
                  <c:v>3.9028959487939998</c:v>
                </c:pt>
                <c:pt idx="39">
                  <c:v>1.951486056632</c:v>
                </c:pt>
                <c:pt idx="40">
                  <c:v>1.951486056632</c:v>
                </c:pt>
                <c:pt idx="41">
                  <c:v>5.8545724210600003</c:v>
                </c:pt>
                <c:pt idx="42">
                  <c:v>3.9031244511229999</c:v>
                </c:pt>
                <c:pt idx="43">
                  <c:v>7.8062489022459998</c:v>
                </c:pt>
                <c:pt idx="44">
                  <c:v>5.8548009367680001</c:v>
                </c:pt>
                <c:pt idx="45">
                  <c:v>5.854915201311</c:v>
                </c:pt>
                <c:pt idx="46">
                  <c:v>5.854915201311</c:v>
                </c:pt>
                <c:pt idx="47">
                  <c:v>1.9516764901050001</c:v>
                </c:pt>
                <c:pt idx="48">
                  <c:v>1.9516764901050001</c:v>
                </c:pt>
                <c:pt idx="49">
                  <c:v>5.8551437437780001</c:v>
                </c:pt>
                <c:pt idx="50">
                  <c:v>3.9035053478020001</c:v>
                </c:pt>
                <c:pt idx="51">
                  <c:v>3.9035053478020001</c:v>
                </c:pt>
                <c:pt idx="52">
                  <c:v>1.9517907680290001</c:v>
                </c:pt>
                <c:pt idx="53">
                  <c:v>5.8553723040890002</c:v>
                </c:pt>
                <c:pt idx="54">
                  <c:v>5.8554865909349996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5.8557151780129999</c:v>
                </c:pt>
                <c:pt idx="59">
                  <c:v>1.9518669607470001</c:v>
                </c:pt>
                <c:pt idx="60">
                  <c:v>0</c:v>
                </c:pt>
                <c:pt idx="61">
                  <c:v>3.9034291625190001</c:v>
                </c:pt>
                <c:pt idx="62">
                  <c:v>0</c:v>
                </c:pt>
                <c:pt idx="63">
                  <c:v>0</c:v>
                </c:pt>
                <c:pt idx="64">
                  <c:v>1.9515241403529999</c:v>
                </c:pt>
                <c:pt idx="65">
                  <c:v>1.9514479743969999</c:v>
                </c:pt>
                <c:pt idx="66">
                  <c:v>9.7568590719269999</c:v>
                </c:pt>
                <c:pt idx="67">
                  <c:v>3.9025913206360001</c:v>
                </c:pt>
                <c:pt idx="68">
                  <c:v>0</c:v>
                </c:pt>
                <c:pt idx="69">
                  <c:v>1.951181440362</c:v>
                </c:pt>
                <c:pt idx="70">
                  <c:v>3.9022106023059999</c:v>
                </c:pt>
                <c:pt idx="71">
                  <c:v>1.9510291678859999</c:v>
                </c:pt>
                <c:pt idx="72">
                  <c:v>0</c:v>
                </c:pt>
                <c:pt idx="73">
                  <c:v>0</c:v>
                </c:pt>
                <c:pt idx="74">
                  <c:v>1.95083886071</c:v>
                </c:pt>
                <c:pt idx="75">
                  <c:v>3.901525496469</c:v>
                </c:pt>
                <c:pt idx="76">
                  <c:v>3.9013732833949999</c:v>
                </c:pt>
                <c:pt idx="77">
                  <c:v>3.901221082198</c:v>
                </c:pt>
                <c:pt idx="78">
                  <c:v>0</c:v>
                </c:pt>
                <c:pt idx="79">
                  <c:v>7.8019856053360002</c:v>
                </c:pt>
                <c:pt idx="80">
                  <c:v>1.950420315578</c:v>
                </c:pt>
                <c:pt idx="81">
                  <c:v>5.8510327072720001</c:v>
                </c:pt>
                <c:pt idx="82">
                  <c:v>0</c:v>
                </c:pt>
                <c:pt idx="83">
                  <c:v>0</c:v>
                </c:pt>
                <c:pt idx="84">
                  <c:v>1.95015406217</c:v>
                </c:pt>
                <c:pt idx="85">
                  <c:v>3.90015600624</c:v>
                </c:pt>
                <c:pt idx="86">
                  <c:v>1.950001950001</c:v>
                </c:pt>
                <c:pt idx="87">
                  <c:v>9.7496295140780003</c:v>
                </c:pt>
                <c:pt idx="88">
                  <c:v>1.94984986156</c:v>
                </c:pt>
                <c:pt idx="89">
                  <c:v>0</c:v>
                </c:pt>
                <c:pt idx="90">
                  <c:v>5.8496636443399996</c:v>
                </c:pt>
                <c:pt idx="91">
                  <c:v>1.9499639256670001</c:v>
                </c:pt>
                <c:pt idx="92">
                  <c:v>3.900003900003</c:v>
                </c:pt>
                <c:pt idx="93">
                  <c:v>7.8003120124800001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3.9006884715150001</c:v>
                </c:pt>
                <c:pt idx="99">
                  <c:v>0</c:v>
                </c:pt>
                <c:pt idx="100">
                  <c:v>0</c:v>
                </c:pt>
                <c:pt idx="101">
                  <c:v>5.8516033393139999</c:v>
                </c:pt>
                <c:pt idx="102">
                  <c:v>0</c:v>
                </c:pt>
                <c:pt idx="103">
                  <c:v>1.950648590656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1.9508769191749999</c:v>
                </c:pt>
                <c:pt idx="108">
                  <c:v>0</c:v>
                </c:pt>
                <c:pt idx="109">
                  <c:v>0</c:v>
                </c:pt>
                <c:pt idx="110">
                  <c:v>1.9510291678859999</c:v>
                </c:pt>
                <c:pt idx="111">
                  <c:v>0</c:v>
                </c:pt>
                <c:pt idx="112">
                  <c:v>1.951143370014</c:v>
                </c:pt>
                <c:pt idx="113">
                  <c:v>0</c:v>
                </c:pt>
                <c:pt idx="114">
                  <c:v>1.9512575855130001</c:v>
                </c:pt>
                <c:pt idx="115">
                  <c:v>3.9026674732169999</c:v>
                </c:pt>
                <c:pt idx="116">
                  <c:v>3.9027436287709998</c:v>
                </c:pt>
                <c:pt idx="117">
                  <c:v>0</c:v>
                </c:pt>
                <c:pt idx="118">
                  <c:v>0</c:v>
                </c:pt>
                <c:pt idx="119">
                  <c:v>1.9515241403529999</c:v>
                </c:pt>
                <c:pt idx="120">
                  <c:v>0</c:v>
                </c:pt>
                <c:pt idx="121">
                  <c:v>0</c:v>
                </c:pt>
                <c:pt idx="122">
                  <c:v>1.9517526739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1.95232424201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1.953506544246</c:v>
                </c:pt>
                <c:pt idx="151">
                  <c:v>0</c:v>
                </c:pt>
                <c:pt idx="153">
                  <c:v>1.9531631477169999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1.952705473433</c:v>
                </c:pt>
                <c:pt idx="158">
                  <c:v>1.9525910883740001</c:v>
                </c:pt>
                <c:pt idx="159">
                  <c:v>0</c:v>
                </c:pt>
                <c:pt idx="160">
                  <c:v>0</c:v>
                </c:pt>
                <c:pt idx="161">
                  <c:v>3.904572254109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5.8554865909349996</c:v>
                </c:pt>
                <c:pt idx="166">
                  <c:v>0</c:v>
                </c:pt>
                <c:pt idx="167">
                  <c:v>1.9516003122559999</c:v>
                </c:pt>
                <c:pt idx="168">
                  <c:v>0</c:v>
                </c:pt>
                <c:pt idx="169">
                  <c:v>3.9027436287709998</c:v>
                </c:pt>
                <c:pt idx="170">
                  <c:v>1.9512956603180001</c:v>
                </c:pt>
                <c:pt idx="171">
                  <c:v>7.8047257614480001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3.9014493884469998</c:v>
                </c:pt>
                <c:pt idx="176">
                  <c:v>0</c:v>
                </c:pt>
                <c:pt idx="177">
                  <c:v>1.950496401334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5.8487512915990001</c:v>
                </c:pt>
                <c:pt idx="185">
                  <c:v>1.9494317406470001</c:v>
                </c:pt>
                <c:pt idx="186">
                  <c:v>0</c:v>
                </c:pt>
                <c:pt idx="187">
                  <c:v>0</c:v>
                </c:pt>
                <c:pt idx="188">
                  <c:v>3.8979516264199998</c:v>
                </c:pt>
                <c:pt idx="189">
                  <c:v>1.9488238847849999</c:v>
                </c:pt>
                <c:pt idx="190">
                  <c:v>0</c:v>
                </c:pt>
                <c:pt idx="191">
                  <c:v>3.89711613406</c:v>
                </c:pt>
                <c:pt idx="192">
                  <c:v>1.9484062037250001</c:v>
                </c:pt>
                <c:pt idx="193">
                  <c:v>1.948254364089</c:v>
                </c:pt>
                <c:pt idx="194">
                  <c:v>0</c:v>
                </c:pt>
                <c:pt idx="195">
                  <c:v>0</c:v>
                </c:pt>
                <c:pt idx="196">
                  <c:v>1.947798987144</c:v>
                </c:pt>
                <c:pt idx="197">
                  <c:v>0</c:v>
                </c:pt>
                <c:pt idx="198">
                  <c:v>0</c:v>
                </c:pt>
                <c:pt idx="199">
                  <c:v>3.89468764605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1.946813067009</c:v>
                </c:pt>
                <c:pt idx="204">
                  <c:v>0</c:v>
                </c:pt>
                <c:pt idx="205">
                  <c:v>1.9465099077350001</c:v>
                </c:pt>
                <c:pt idx="206">
                  <c:v>0</c:v>
                </c:pt>
                <c:pt idx="207">
                  <c:v>1.9462068428629999</c:v>
                </c:pt>
                <c:pt idx="208">
                  <c:v>1.946055345814</c:v>
                </c:pt>
                <c:pt idx="209">
                  <c:v>0</c:v>
                </c:pt>
                <c:pt idx="210">
                  <c:v>0</c:v>
                </c:pt>
                <c:pt idx="211">
                  <c:v>7.7824039845900002</c:v>
                </c:pt>
                <c:pt idx="212">
                  <c:v>5.8349865795299998</c:v>
                </c:pt>
                <c:pt idx="213">
                  <c:v>0</c:v>
                </c:pt>
                <c:pt idx="214">
                  <c:v>1.9437479347669999</c:v>
                </c:pt>
                <c:pt idx="215">
                  <c:v>1.943143617744</c:v>
                </c:pt>
                <c:pt idx="216">
                  <c:v>1.942539676372</c:v>
                </c:pt>
                <c:pt idx="217">
                  <c:v>0</c:v>
                </c:pt>
                <c:pt idx="218">
                  <c:v>3.8825904643569999</c:v>
                </c:pt>
                <c:pt idx="219">
                  <c:v>0</c:v>
                </c:pt>
                <c:pt idx="220">
                  <c:v>0</c:v>
                </c:pt>
                <c:pt idx="221">
                  <c:v>5.818463925523</c:v>
                </c:pt>
                <c:pt idx="222">
                  <c:v>3.8776974232699999</c:v>
                </c:pt>
                <c:pt idx="223">
                  <c:v>0</c:v>
                </c:pt>
                <c:pt idx="224">
                  <c:v>7.7504359620220002</c:v>
                </c:pt>
                <c:pt idx="225">
                  <c:v>1.9370084840970001</c:v>
                </c:pt>
                <c:pt idx="226">
                  <c:v>0</c:v>
                </c:pt>
                <c:pt idx="227">
                  <c:v>1.9357711144230001</c:v>
                </c:pt>
                <c:pt idx="228">
                  <c:v>1.9352091961140001</c:v>
                </c:pt>
                <c:pt idx="229">
                  <c:v>0</c:v>
                </c:pt>
                <c:pt idx="230">
                  <c:v>1.9339741234259999</c:v>
                </c:pt>
                <c:pt idx="231">
                  <c:v>0</c:v>
                </c:pt>
                <c:pt idx="232">
                  <c:v>3.8849284201929999</c:v>
                </c:pt>
                <c:pt idx="233">
                  <c:v>1.9462447208110001</c:v>
                </c:pt>
                <c:pt idx="234">
                  <c:v>3.900232063807</c:v>
                </c:pt>
                <c:pt idx="235">
                  <c:v>5.859718342871</c:v>
                </c:pt>
                <c:pt idx="236">
                  <c:v>0</c:v>
                </c:pt>
                <c:pt idx="237">
                  <c:v>1.953430223472</c:v>
                </c:pt>
                <c:pt idx="238">
                  <c:v>7.8406774345299999</c:v>
                </c:pt>
                <c:pt idx="239">
                  <c:v>5.8800470403759997</c:v>
                </c:pt>
                <c:pt idx="240">
                  <c:v>3.9401879469650001</c:v>
                </c:pt>
                <c:pt idx="241">
                  <c:v>15.843152787404</c:v>
                </c:pt>
                <c:pt idx="242">
                  <c:v>4</c:v>
                </c:pt>
                <c:pt idx="243">
                  <c:v>10.004602116973</c:v>
                </c:pt>
                <c:pt idx="244">
                  <c:v>2.001320871775</c:v>
                </c:pt>
                <c:pt idx="245">
                  <c:v>0</c:v>
                </c:pt>
                <c:pt idx="246">
                  <c:v>4.0621509089060002</c:v>
                </c:pt>
                <c:pt idx="247">
                  <c:v>6.1606702809260003</c:v>
                </c:pt>
                <c:pt idx="248">
                  <c:v>10.365487074237</c:v>
                </c:pt>
                <c:pt idx="249">
                  <c:v>10.556540832699</c:v>
                </c:pt>
                <c:pt idx="250">
                  <c:v>2.1157752200400002</c:v>
                </c:pt>
                <c:pt idx="251">
                  <c:v>2.1168501270109998</c:v>
                </c:pt>
                <c:pt idx="252">
                  <c:v>6.4068339562189998</c:v>
                </c:pt>
                <c:pt idx="253">
                  <c:v>17.260723224303</c:v>
                </c:pt>
                <c:pt idx="254">
                  <c:v>13.085294310077</c:v>
                </c:pt>
                <c:pt idx="255">
                  <c:v>8.8319717376900009</c:v>
                </c:pt>
                <c:pt idx="256">
                  <c:v>11.230907457321999</c:v>
                </c:pt>
                <c:pt idx="257">
                  <c:v>9.012256669069</c:v>
                </c:pt>
                <c:pt idx="258">
                  <c:v>13.538517081095</c:v>
                </c:pt>
                <c:pt idx="259">
                  <c:v>29.647198339755999</c:v>
                </c:pt>
                <c:pt idx="260">
                  <c:v>25.369588782028998</c:v>
                </c:pt>
                <c:pt idx="261">
                  <c:v>21.034426344450001</c:v>
                </c:pt>
                <c:pt idx="262">
                  <c:v>23.749584382273</c:v>
                </c:pt>
                <c:pt idx="263">
                  <c:v>26.704862712728001</c:v>
                </c:pt>
                <c:pt idx="264">
                  <c:v>21.927153124619</c:v>
                </c:pt>
                <c:pt idx="265">
                  <c:v>19.533157534914999</c:v>
                </c:pt>
                <c:pt idx="266">
                  <c:v>49.49882440292</c:v>
                </c:pt>
                <c:pt idx="267">
                  <c:v>40.160642570280999</c:v>
                </c:pt>
                <c:pt idx="268">
                  <c:v>38.491147036180998</c:v>
                </c:pt>
                <c:pt idx="269">
                  <c:v>36.023054755042999</c:v>
                </c:pt>
                <c:pt idx="270">
                  <c:v>62.674640273679003</c:v>
                </c:pt>
                <c:pt idx="271">
                  <c:v>39.271127866792</c:v>
                </c:pt>
                <c:pt idx="272">
                  <c:v>36.740585225036</c:v>
                </c:pt>
                <c:pt idx="273">
                  <c:v>111.56860140788901</c:v>
                </c:pt>
                <c:pt idx="274">
                  <c:v>67.410882812921002</c:v>
                </c:pt>
                <c:pt idx="275">
                  <c:v>71.328632959315001</c:v>
                </c:pt>
                <c:pt idx="276">
                  <c:v>56.134048106879</c:v>
                </c:pt>
                <c:pt idx="277">
                  <c:v>66.560555635941995</c:v>
                </c:pt>
                <c:pt idx="278">
                  <c:v>34.876623942801999</c:v>
                </c:pt>
                <c:pt idx="279">
                  <c:v>40.797295722111997</c:v>
                </c:pt>
                <c:pt idx="280">
                  <c:v>109.267024983757</c:v>
                </c:pt>
                <c:pt idx="281">
                  <c:v>92.956310534048001</c:v>
                </c:pt>
                <c:pt idx="282">
                  <c:v>97.623478446565997</c:v>
                </c:pt>
                <c:pt idx="283">
                  <c:v>77.622877014313005</c:v>
                </c:pt>
                <c:pt idx="284">
                  <c:v>86.267493130551003</c:v>
                </c:pt>
                <c:pt idx="285">
                  <c:v>105.850654349499</c:v>
                </c:pt>
                <c:pt idx="286">
                  <c:v>54.627249357326001</c:v>
                </c:pt>
                <c:pt idx="287">
                  <c:v>126.96552397695</c:v>
                </c:pt>
                <c:pt idx="288">
                  <c:v>99.674396969897998</c:v>
                </c:pt>
                <c:pt idx="289">
                  <c:v>73.308897034321006</c:v>
                </c:pt>
                <c:pt idx="290">
                  <c:v>111.88337006272199</c:v>
                </c:pt>
                <c:pt idx="291">
                  <c:v>135.72770933389</c:v>
                </c:pt>
                <c:pt idx="292">
                  <c:v>80.433642245146999</c:v>
                </c:pt>
                <c:pt idx="293">
                  <c:v>56.061667834618</c:v>
                </c:pt>
                <c:pt idx="294">
                  <c:v>145.53973944836801</c:v>
                </c:pt>
                <c:pt idx="295">
                  <c:v>144.32096983691699</c:v>
                </c:pt>
                <c:pt idx="296">
                  <c:v>91.790277573799003</c:v>
                </c:pt>
                <c:pt idx="297">
                  <c:v>134.614665519949</c:v>
                </c:pt>
                <c:pt idx="298">
                  <c:v>123.76716302456001</c:v>
                </c:pt>
                <c:pt idx="299">
                  <c:v>93.341630367142997</c:v>
                </c:pt>
                <c:pt idx="300">
                  <c:v>89.840240615599996</c:v>
                </c:pt>
                <c:pt idx="301">
                  <c:v>142.81180577594401</c:v>
                </c:pt>
                <c:pt idx="302">
                  <c:v>116.695505211057</c:v>
                </c:pt>
                <c:pt idx="303">
                  <c:v>130.93289689034299</c:v>
                </c:pt>
                <c:pt idx="304">
                  <c:v>100.15858442534</c:v>
                </c:pt>
                <c:pt idx="305">
                  <c:v>120.866787533454</c:v>
                </c:pt>
                <c:pt idx="306">
                  <c:v>52.074292657523998</c:v>
                </c:pt>
                <c:pt idx="307">
                  <c:v>52.228412256266999</c:v>
                </c:pt>
                <c:pt idx="308">
                  <c:v>105.862114595739</c:v>
                </c:pt>
                <c:pt idx="309">
                  <c:v>103.04197840598501</c:v>
                </c:pt>
                <c:pt idx="310">
                  <c:v>81.944823818627995</c:v>
                </c:pt>
                <c:pt idx="311">
                  <c:v>69.528135718919998</c:v>
                </c:pt>
                <c:pt idx="312">
                  <c:v>76.201362099346994</c:v>
                </c:pt>
                <c:pt idx="313">
                  <c:v>57.465759984675003</c:v>
                </c:pt>
                <c:pt idx="314">
                  <c:v>33.626363068644999</c:v>
                </c:pt>
                <c:pt idx="315">
                  <c:v>82.476227440325999</c:v>
                </c:pt>
                <c:pt idx="316">
                  <c:v>68.748772343351007</c:v>
                </c:pt>
                <c:pt idx="317">
                  <c:v>44.898977301072001</c:v>
                </c:pt>
                <c:pt idx="318">
                  <c:v>40.576181781293997</c:v>
                </c:pt>
                <c:pt idx="319">
                  <c:v>25.974025974025</c:v>
                </c:pt>
                <c:pt idx="320">
                  <c:v>41.738404549485999</c:v>
                </c:pt>
                <c:pt idx="321">
                  <c:v>31.393888656341002</c:v>
                </c:pt>
                <c:pt idx="322">
                  <c:v>42.399830400677999</c:v>
                </c:pt>
                <c:pt idx="323">
                  <c:v>48.345509239362997</c:v>
                </c:pt>
                <c:pt idx="324">
                  <c:v>54.513737461840002</c:v>
                </c:pt>
                <c:pt idx="325">
                  <c:v>49.377297415920999</c:v>
                </c:pt>
                <c:pt idx="326">
                  <c:v>10.975743606629001</c:v>
                </c:pt>
                <c:pt idx="327">
                  <c:v>10.978756106933</c:v>
                </c:pt>
                <c:pt idx="328">
                  <c:v>16.474464579900999</c:v>
                </c:pt>
                <c:pt idx="329">
                  <c:v>77.618229195542</c:v>
                </c:pt>
                <c:pt idx="330">
                  <c:v>89.555580432105003</c:v>
                </c:pt>
                <c:pt idx="331">
                  <c:v>28.309364737854999</c:v>
                </c:pt>
                <c:pt idx="332">
                  <c:v>74.396245850978005</c:v>
                </c:pt>
                <c:pt idx="333">
                  <c:v>34.417484081913003</c:v>
                </c:pt>
                <c:pt idx="334">
                  <c:v>17.221584385762998</c:v>
                </c:pt>
                <c:pt idx="335">
                  <c:v>51.783659378595999</c:v>
                </c:pt>
                <c:pt idx="336">
                  <c:v>98.751089166423995</c:v>
                </c:pt>
                <c:pt idx="337">
                  <c:v>76.439113306284995</c:v>
                </c:pt>
                <c:pt idx="338">
                  <c:v>35.748331744517998</c:v>
                </c:pt>
                <c:pt idx="339">
                  <c:v>48.338368580059999</c:v>
                </c:pt>
                <c:pt idx="340">
                  <c:v>37.206994915044</c:v>
                </c:pt>
                <c:pt idx="341">
                  <c:v>31.152647975076999</c:v>
                </c:pt>
                <c:pt idx="342">
                  <c:v>31.248046997062001</c:v>
                </c:pt>
                <c:pt idx="343">
                  <c:v>44.133408990604998</c:v>
                </c:pt>
                <c:pt idx="344">
                  <c:v>57.332144222193001</c:v>
                </c:pt>
                <c:pt idx="345">
                  <c:v>167.26711271229999</c:v>
                </c:pt>
                <c:pt idx="346">
                  <c:v>78.084331077562993</c:v>
                </c:pt>
                <c:pt idx="347">
                  <c:v>99.101479915433003</c:v>
                </c:pt>
                <c:pt idx="348">
                  <c:v>92.825885161119004</c:v>
                </c:pt>
                <c:pt idx="349">
                  <c:v>93.035619351408002</c:v>
                </c:pt>
                <c:pt idx="350">
                  <c:v>207.31625760716901</c:v>
                </c:pt>
                <c:pt idx="351">
                  <c:v>175.02524402558001</c:v>
                </c:pt>
                <c:pt idx="352">
                  <c:v>291.58472909744302</c:v>
                </c:pt>
                <c:pt idx="353">
                  <c:v>170.706725844998</c:v>
                </c:pt>
                <c:pt idx="354">
                  <c:v>200.248584449661</c:v>
                </c:pt>
                <c:pt idx="355">
                  <c:v>89.952947688901006</c:v>
                </c:pt>
                <c:pt idx="356">
                  <c:v>152.50242617496099</c:v>
                </c:pt>
                <c:pt idx="357">
                  <c:v>264.993026499302</c:v>
                </c:pt>
                <c:pt idx="358">
                  <c:v>245.52788495264801</c:v>
                </c:pt>
                <c:pt idx="359">
                  <c:v>247.157686604053</c:v>
                </c:pt>
                <c:pt idx="360">
                  <c:v>390.90262970859902</c:v>
                </c:pt>
                <c:pt idx="361">
                  <c:v>366.11629576453601</c:v>
                </c:pt>
                <c:pt idx="362">
                  <c:v>86.337146557305999</c:v>
                </c:pt>
                <c:pt idx="363">
                  <c:v>158.50144092219</c:v>
                </c:pt>
                <c:pt idx="364">
                  <c:v>268.71958747911901</c:v>
                </c:pt>
                <c:pt idx="365">
                  <c:v>328.395241917828</c:v>
                </c:pt>
                <c:pt idx="366">
                  <c:v>271.02256079695201</c:v>
                </c:pt>
                <c:pt idx="367">
                  <c:v>198.45644983461901</c:v>
                </c:pt>
                <c:pt idx="368">
                  <c:v>192.193968066232</c:v>
                </c:pt>
                <c:pt idx="369">
                  <c:v>147.99467219180099</c:v>
                </c:pt>
                <c:pt idx="370">
                  <c:v>66.637050199911002</c:v>
                </c:pt>
                <c:pt idx="371">
                  <c:v>178.20017820017799</c:v>
                </c:pt>
                <c:pt idx="372">
                  <c:v>208.64381520119201</c:v>
                </c:pt>
                <c:pt idx="373">
                  <c:v>186.957822315285</c:v>
                </c:pt>
                <c:pt idx="374">
                  <c:v>187.659510583996</c:v>
                </c:pt>
                <c:pt idx="375">
                  <c:v>150.840938230635</c:v>
                </c:pt>
                <c:pt idx="376">
                  <c:v>83.018867924527996</c:v>
                </c:pt>
                <c:pt idx="377">
                  <c:v>83.075296427761998</c:v>
                </c:pt>
                <c:pt idx="378">
                  <c:v>189.35090509732601</c:v>
                </c:pt>
                <c:pt idx="379">
                  <c:v>121.41447867658199</c:v>
                </c:pt>
                <c:pt idx="380">
                  <c:v>121.719284899201</c:v>
                </c:pt>
                <c:pt idx="381">
                  <c:v>129.860209304102</c:v>
                </c:pt>
                <c:pt idx="382">
                  <c:v>92.180058380703002</c:v>
                </c:pt>
                <c:pt idx="383">
                  <c:v>76.85804319422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46D-4FF1-A45D-1ECFD79ADBFD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85</c:f>
              <c:numCache>
                <c:formatCode>m/d/yyyy</c:formatCode>
                <c:ptCount val="3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</c:numCache>
            </c:numRef>
          </c:cat>
          <c:val>
            <c:numRef>
              <c:f>List1!$D$2:$D$385</c:f>
              <c:numCache>
                <c:formatCode>General</c:formatCode>
                <c:ptCount val="38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31.075201988812001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13.255567338282001</c:v>
                </c:pt>
                <c:pt idx="258">
                  <c:v>0</c:v>
                </c:pt>
                <c:pt idx="259">
                  <c:v>12.37470610073</c:v>
                </c:pt>
                <c:pt idx="260">
                  <c:v>11.664528169835</c:v>
                </c:pt>
                <c:pt idx="261">
                  <c:v>21.867483052699999</c:v>
                </c:pt>
                <c:pt idx="262">
                  <c:v>0</c:v>
                </c:pt>
                <c:pt idx="263">
                  <c:v>9.3066542577939995</c:v>
                </c:pt>
                <c:pt idx="264">
                  <c:v>9.1810503121549996</c:v>
                </c:pt>
                <c:pt idx="265">
                  <c:v>0</c:v>
                </c:pt>
                <c:pt idx="266">
                  <c:v>17.338534893801</c:v>
                </c:pt>
                <c:pt idx="267">
                  <c:v>8.2637798529039994</c:v>
                </c:pt>
                <c:pt idx="268">
                  <c:v>15.417823003391</c:v>
                </c:pt>
                <c:pt idx="269">
                  <c:v>7.6452599388370004</c:v>
                </c:pt>
                <c:pt idx="270">
                  <c:v>43.949604453558997</c:v>
                </c:pt>
                <c:pt idx="271">
                  <c:v>0</c:v>
                </c:pt>
                <c:pt idx="272">
                  <c:v>14.447735317488</c:v>
                </c:pt>
                <c:pt idx="273">
                  <c:v>13.985036011467001</c:v>
                </c:pt>
                <c:pt idx="274">
                  <c:v>13.460761879122</c:v>
                </c:pt>
                <c:pt idx="275">
                  <c:v>6.4549444874770003</c:v>
                </c:pt>
                <c:pt idx="276">
                  <c:v>6.1304561059339999</c:v>
                </c:pt>
                <c:pt idx="277">
                  <c:v>28.760425654298999</c:v>
                </c:pt>
                <c:pt idx="278">
                  <c:v>34.225086988762001</c:v>
                </c:pt>
                <c:pt idx="279">
                  <c:v>5.675046819136</c:v>
                </c:pt>
                <c:pt idx="280">
                  <c:v>16.599347092346999</c:v>
                </c:pt>
                <c:pt idx="281">
                  <c:v>48.426150121065</c:v>
                </c:pt>
                <c:pt idx="282">
                  <c:v>20.884456743068</c:v>
                </c:pt>
                <c:pt idx="283">
                  <c:v>55.769620766578001</c:v>
                </c:pt>
                <c:pt idx="284">
                  <c:v>38.776598322912001</c:v>
                </c:pt>
                <c:pt idx="285">
                  <c:v>19.275250578257001</c:v>
                </c:pt>
                <c:pt idx="286">
                  <c:v>9.6126117466109999</c:v>
                </c:pt>
                <c:pt idx="287">
                  <c:v>28.291210863823999</c:v>
                </c:pt>
                <c:pt idx="288">
                  <c:v>45.819014891179002</c:v>
                </c:pt>
                <c:pt idx="289">
                  <c:v>31.945965680905001</c:v>
                </c:pt>
                <c:pt idx="290">
                  <c:v>26.755852842808999</c:v>
                </c:pt>
                <c:pt idx="291">
                  <c:v>56.070735389260001</c:v>
                </c:pt>
                <c:pt idx="292">
                  <c:v>34.302375439499002</c:v>
                </c:pt>
                <c:pt idx="293">
                  <c:v>12.833675564681</c:v>
                </c:pt>
                <c:pt idx="294">
                  <c:v>25.270606073368</c:v>
                </c:pt>
                <c:pt idx="295">
                  <c:v>70.256643385543001</c:v>
                </c:pt>
                <c:pt idx="296">
                  <c:v>32.421479229988996</c:v>
                </c:pt>
                <c:pt idx="297">
                  <c:v>39.734573052012003</c:v>
                </c:pt>
                <c:pt idx="298">
                  <c:v>38.383295589759001</c:v>
                </c:pt>
                <c:pt idx="299">
                  <c:v>19.087612139720999</c:v>
                </c:pt>
                <c:pt idx="300">
                  <c:v>41.818734793186998</c:v>
                </c:pt>
                <c:pt idx="301">
                  <c:v>52.442313455198999</c:v>
                </c:pt>
                <c:pt idx="302">
                  <c:v>44.360652101585003</c:v>
                </c:pt>
                <c:pt idx="303">
                  <c:v>43.703110204676001</c:v>
                </c:pt>
                <c:pt idx="304">
                  <c:v>28.639959904055999</c:v>
                </c:pt>
                <c:pt idx="305">
                  <c:v>38.292835758545998</c:v>
                </c:pt>
                <c:pt idx="306">
                  <c:v>13.866740622616</c:v>
                </c:pt>
                <c:pt idx="307">
                  <c:v>10.376673238559</c:v>
                </c:pt>
                <c:pt idx="308">
                  <c:v>44.50073597371</c:v>
                </c:pt>
                <c:pt idx="309">
                  <c:v>43.978349120433002</c:v>
                </c:pt>
                <c:pt idx="310">
                  <c:v>26.744224918931</c:v>
                </c:pt>
                <c:pt idx="311">
                  <c:v>29.701009834333998</c:v>
                </c:pt>
                <c:pt idx="312">
                  <c:v>22.671330483222999</c:v>
                </c:pt>
                <c:pt idx="313">
                  <c:v>12.908222537756</c:v>
                </c:pt>
                <c:pt idx="314">
                  <c:v>6.4410163923860004</c:v>
                </c:pt>
                <c:pt idx="315">
                  <c:v>15.998464147441</c:v>
                </c:pt>
                <c:pt idx="316">
                  <c:v>22.223633246555</c:v>
                </c:pt>
                <c:pt idx="317">
                  <c:v>25.146162067014</c:v>
                </c:pt>
                <c:pt idx="318">
                  <c:v>9.3338726237510006</c:v>
                </c:pt>
                <c:pt idx="319">
                  <c:v>36.805299963194003</c:v>
                </c:pt>
                <c:pt idx="320">
                  <c:v>15.298005140129</c:v>
                </c:pt>
                <c:pt idx="321">
                  <c:v>18.3284457478</c:v>
                </c:pt>
                <c:pt idx="322">
                  <c:v>30.323245800230001</c:v>
                </c:pt>
                <c:pt idx="323">
                  <c:v>24.076805007975</c:v>
                </c:pt>
                <c:pt idx="324">
                  <c:v>14.927155481251001</c:v>
                </c:pt>
                <c:pt idx="325">
                  <c:v>23.802439750074001</c:v>
                </c:pt>
                <c:pt idx="326">
                  <c:v>2.975039419272</c:v>
                </c:pt>
                <c:pt idx="327">
                  <c:v>14.874312063067</c:v>
                </c:pt>
                <c:pt idx="328">
                  <c:v>11.898033849906</c:v>
                </c:pt>
                <c:pt idx="329">
                  <c:v>26.635887418982001</c:v>
                </c:pt>
                <c:pt idx="330">
                  <c:v>35.337770186701</c:v>
                </c:pt>
                <c:pt idx="331">
                  <c:v>40.984806346790002</c:v>
                </c:pt>
                <c:pt idx="332">
                  <c:v>20.382017237363002</c:v>
                </c:pt>
                <c:pt idx="333">
                  <c:v>26.175726376406001</c:v>
                </c:pt>
                <c:pt idx="334">
                  <c:v>5.8163205955909998</c:v>
                </c:pt>
                <c:pt idx="335">
                  <c:v>37.773128777312003</c:v>
                </c:pt>
                <c:pt idx="336">
                  <c:v>60.744554684561997</c:v>
                </c:pt>
                <c:pt idx="337">
                  <c:v>40.265753976242998</c:v>
                </c:pt>
                <c:pt idx="338">
                  <c:v>37.160906726123997</c:v>
                </c:pt>
                <c:pt idx="339">
                  <c:v>39.764819496122001</c:v>
                </c:pt>
                <c:pt idx="340">
                  <c:v>30.880660284663001</c:v>
                </c:pt>
                <c:pt idx="341">
                  <c:v>30.823549191582</c:v>
                </c:pt>
                <c:pt idx="342">
                  <c:v>22.392028437876</c:v>
                </c:pt>
                <c:pt idx="343">
                  <c:v>78.087960509802002</c:v>
                </c:pt>
                <c:pt idx="344">
                  <c:v>88.86420438767</c:v>
                </c:pt>
                <c:pt idx="345">
                  <c:v>135.53133816451799</c:v>
                </c:pt>
                <c:pt idx="346">
                  <c:v>82.599118942730996</c:v>
                </c:pt>
                <c:pt idx="347">
                  <c:v>98.514079303833</c:v>
                </c:pt>
                <c:pt idx="348">
                  <c:v>60.130647497745002</c:v>
                </c:pt>
                <c:pt idx="349">
                  <c:v>84.674005080439997</c:v>
                </c:pt>
                <c:pt idx="350">
                  <c:v>250.70852408981901</c:v>
                </c:pt>
                <c:pt idx="351">
                  <c:v>201.168954736985</c:v>
                </c:pt>
                <c:pt idx="352">
                  <c:v>219.61337201420699</c:v>
                </c:pt>
                <c:pt idx="353">
                  <c:v>221.77146720757199</c:v>
                </c:pt>
                <c:pt idx="354">
                  <c:v>172.37664296487799</c:v>
                </c:pt>
                <c:pt idx="355">
                  <c:v>123.829008291159</c:v>
                </c:pt>
                <c:pt idx="356">
                  <c:v>164.132920758778</c:v>
                </c:pt>
                <c:pt idx="357">
                  <c:v>392.04103004752801</c:v>
                </c:pt>
                <c:pt idx="358">
                  <c:v>324.25769107085398</c:v>
                </c:pt>
                <c:pt idx="359">
                  <c:v>323.529411764705</c:v>
                </c:pt>
                <c:pt idx="360">
                  <c:v>336.16135745157601</c:v>
                </c:pt>
                <c:pt idx="361">
                  <c:v>345.63437200893298</c:v>
                </c:pt>
                <c:pt idx="362">
                  <c:v>124.89038875455</c:v>
                </c:pt>
                <c:pt idx="363">
                  <c:v>228.46820041442999</c:v>
                </c:pt>
                <c:pt idx="364">
                  <c:v>408.01186943620098</c:v>
                </c:pt>
                <c:pt idx="365">
                  <c:v>447.01899169443999</c:v>
                </c:pt>
                <c:pt idx="366">
                  <c:v>327.583018519007</c:v>
                </c:pt>
                <c:pt idx="367">
                  <c:v>269.15769474350799</c:v>
                </c:pt>
                <c:pt idx="368">
                  <c:v>266.00647896968502</c:v>
                </c:pt>
                <c:pt idx="369">
                  <c:v>147.44990652729101</c:v>
                </c:pt>
                <c:pt idx="370">
                  <c:v>126.37232446094301</c:v>
                </c:pt>
                <c:pt idx="371">
                  <c:v>339.312957020358</c:v>
                </c:pt>
                <c:pt idx="372">
                  <c:v>236.45630812884201</c:v>
                </c:pt>
                <c:pt idx="373">
                  <c:v>199.44365716684999</c:v>
                </c:pt>
                <c:pt idx="374">
                  <c:v>188.718808974627</c:v>
                </c:pt>
                <c:pt idx="375">
                  <c:v>185.810368741985</c:v>
                </c:pt>
                <c:pt idx="376">
                  <c:v>107.2849068453</c:v>
                </c:pt>
                <c:pt idx="377">
                  <c:v>107.26806551200799</c:v>
                </c:pt>
                <c:pt idx="378">
                  <c:v>305.83437892095299</c:v>
                </c:pt>
                <c:pt idx="379">
                  <c:v>190.715050813804</c:v>
                </c:pt>
                <c:pt idx="380">
                  <c:v>195.791781966271</c:v>
                </c:pt>
                <c:pt idx="381">
                  <c:v>135.572009594326</c:v>
                </c:pt>
                <c:pt idx="382">
                  <c:v>148.340923877683</c:v>
                </c:pt>
                <c:pt idx="383">
                  <c:v>72.861640948241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46D-4FF1-A45D-1ECFD79ADB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ax val="6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407698460641014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85</c:f>
              <c:numCache>
                <c:formatCode>m/d/yyyy</c:formatCode>
                <c:ptCount val="3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</c:numCache>
            </c:numRef>
          </c:cat>
          <c:val>
            <c:numRef>
              <c:f>List1!$B$2:$B$385</c:f>
              <c:numCache>
                <c:formatCode>General</c:formatCode>
                <c:ptCount val="384"/>
                <c:pt idx="0">
                  <c:v>125.259325948252</c:v>
                </c:pt>
                <c:pt idx="1">
                  <c:v>111.43105080466999</c:v>
                </c:pt>
                <c:pt idx="2">
                  <c:v>135.18617920120801</c:v>
                </c:pt>
                <c:pt idx="3">
                  <c:v>109.96591056772399</c:v>
                </c:pt>
                <c:pt idx="4">
                  <c:v>111.357457438377</c:v>
                </c:pt>
                <c:pt idx="5">
                  <c:v>54.352202270714002</c:v>
                </c:pt>
                <c:pt idx="6">
                  <c:v>30.281924719134999</c:v>
                </c:pt>
                <c:pt idx="7">
                  <c:v>131.63533949672399</c:v>
                </c:pt>
                <c:pt idx="8">
                  <c:v>121.138076700074</c:v>
                </c:pt>
                <c:pt idx="9">
                  <c:v>109.43451817244301</c:v>
                </c:pt>
                <c:pt idx="10">
                  <c:v>116.04044224301801</c:v>
                </c:pt>
                <c:pt idx="11">
                  <c:v>112.61882942663701</c:v>
                </c:pt>
                <c:pt idx="12">
                  <c:v>55.335443458242999</c:v>
                </c:pt>
                <c:pt idx="13">
                  <c:v>29.948422161831999</c:v>
                </c:pt>
                <c:pt idx="14">
                  <c:v>143.24530189515801</c:v>
                </c:pt>
                <c:pt idx="15">
                  <c:v>139.42099281806099</c:v>
                </c:pt>
                <c:pt idx="16">
                  <c:v>137.29150358282601</c:v>
                </c:pt>
                <c:pt idx="17">
                  <c:v>133.16076362097701</c:v>
                </c:pt>
                <c:pt idx="18">
                  <c:v>157.39769150052399</c:v>
                </c:pt>
                <c:pt idx="19">
                  <c:v>73.217726396917001</c:v>
                </c:pt>
                <c:pt idx="20">
                  <c:v>42.525773195875999</c:v>
                </c:pt>
                <c:pt idx="21">
                  <c:v>162.288398358644</c:v>
                </c:pt>
                <c:pt idx="22">
                  <c:v>204.76620279936901</c:v>
                </c:pt>
                <c:pt idx="23">
                  <c:v>170.390524088273</c:v>
                </c:pt>
                <c:pt idx="24">
                  <c:v>175.133802224899</c:v>
                </c:pt>
                <c:pt idx="25">
                  <c:v>196.91499835904099</c:v>
                </c:pt>
                <c:pt idx="26">
                  <c:v>102.96010296010201</c:v>
                </c:pt>
                <c:pt idx="27">
                  <c:v>50.085144746068003</c:v>
                </c:pt>
                <c:pt idx="28">
                  <c:v>167.98447591739699</c:v>
                </c:pt>
                <c:pt idx="29">
                  <c:v>200.27775747386801</c:v>
                </c:pt>
                <c:pt idx="30">
                  <c:v>166.64946097010599</c:v>
                </c:pt>
                <c:pt idx="31">
                  <c:v>165.37051935282</c:v>
                </c:pt>
                <c:pt idx="32">
                  <c:v>163.757098644872</c:v>
                </c:pt>
                <c:pt idx="33">
                  <c:v>91.678314321355003</c:v>
                </c:pt>
                <c:pt idx="34">
                  <c:v>55.632405124195003</c:v>
                </c:pt>
                <c:pt idx="35">
                  <c:v>157.29929215318501</c:v>
                </c:pt>
                <c:pt idx="36">
                  <c:v>169.088748743259</c:v>
                </c:pt>
                <c:pt idx="37">
                  <c:v>185.33267981864901</c:v>
                </c:pt>
                <c:pt idx="38">
                  <c:v>130.89408358742099</c:v>
                </c:pt>
                <c:pt idx="39">
                  <c:v>161.31033627000801</c:v>
                </c:pt>
                <c:pt idx="40">
                  <c:v>74.457853752364997</c:v>
                </c:pt>
                <c:pt idx="41">
                  <c:v>44.984953308720002</c:v>
                </c:pt>
                <c:pt idx="42">
                  <c:v>155.598431567809</c:v>
                </c:pt>
                <c:pt idx="43">
                  <c:v>142.14308028740999</c:v>
                </c:pt>
                <c:pt idx="44">
                  <c:v>142.81230382925199</c:v>
                </c:pt>
                <c:pt idx="45">
                  <c:v>127.68170998912299</c:v>
                </c:pt>
                <c:pt idx="46">
                  <c:v>122.136920246177</c:v>
                </c:pt>
                <c:pt idx="47">
                  <c:v>44.416948238392003</c:v>
                </c:pt>
                <c:pt idx="48">
                  <c:v>34.902352735868</c:v>
                </c:pt>
                <c:pt idx="49">
                  <c:v>146.728122358495</c:v>
                </c:pt>
                <c:pt idx="50">
                  <c:v>100.972865545814</c:v>
                </c:pt>
                <c:pt idx="51">
                  <c:v>104.796453043127</c:v>
                </c:pt>
                <c:pt idx="52">
                  <c:v>76.456330421485006</c:v>
                </c:pt>
                <c:pt idx="53">
                  <c:v>87.099424815118994</c:v>
                </c:pt>
                <c:pt idx="54">
                  <c:v>44.416661183127999</c:v>
                </c:pt>
                <c:pt idx="55">
                  <c:v>23.055134707857999</c:v>
                </c:pt>
                <c:pt idx="56">
                  <c:v>86.327113354139996</c:v>
                </c:pt>
                <c:pt idx="57">
                  <c:v>88.679182143692998</c:v>
                </c:pt>
                <c:pt idx="58">
                  <c:v>60.804648177548998</c:v>
                </c:pt>
                <c:pt idx="59">
                  <c:v>83.680579274539994</c:v>
                </c:pt>
                <c:pt idx="60">
                  <c:v>43.301290378452997</c:v>
                </c:pt>
                <c:pt idx="61">
                  <c:v>36.402718069614998</c:v>
                </c:pt>
                <c:pt idx="62">
                  <c:v>39.882087740593001</c:v>
                </c:pt>
                <c:pt idx="63">
                  <c:v>38.524173919134</c:v>
                </c:pt>
                <c:pt idx="64">
                  <c:v>113.152171991301</c:v>
                </c:pt>
                <c:pt idx="65">
                  <c:v>85.737251049387993</c:v>
                </c:pt>
                <c:pt idx="66">
                  <c:v>61.507290422952998</c:v>
                </c:pt>
                <c:pt idx="67">
                  <c:v>47.767775124011997</c:v>
                </c:pt>
                <c:pt idx="68">
                  <c:v>22.092937624272</c:v>
                </c:pt>
                <c:pt idx="69">
                  <c:v>14.739479696366001</c:v>
                </c:pt>
                <c:pt idx="70">
                  <c:v>35.416705500772999</c:v>
                </c:pt>
                <c:pt idx="71">
                  <c:v>49.082534168994002</c:v>
                </c:pt>
                <c:pt idx="72">
                  <c:v>44.020823763589</c:v>
                </c:pt>
                <c:pt idx="73">
                  <c:v>37.004576881877</c:v>
                </c:pt>
                <c:pt idx="74">
                  <c:v>45.056516543576997</c:v>
                </c:pt>
                <c:pt idx="75">
                  <c:v>11.789672247111</c:v>
                </c:pt>
                <c:pt idx="76">
                  <c:v>9.8496936745259998</c:v>
                </c:pt>
                <c:pt idx="77">
                  <c:v>51.321529381574997</c:v>
                </c:pt>
                <c:pt idx="78">
                  <c:v>46.246958759777002</c:v>
                </c:pt>
                <c:pt idx="79">
                  <c:v>34.665579119085997</c:v>
                </c:pt>
                <c:pt idx="80">
                  <c:v>24.849865396561999</c:v>
                </c:pt>
                <c:pt idx="81">
                  <c:v>18.957345971563001</c:v>
                </c:pt>
                <c:pt idx="82">
                  <c:v>16.941256194146</c:v>
                </c:pt>
                <c:pt idx="83">
                  <c:v>6.3698324734050003</c:v>
                </c:pt>
                <c:pt idx="84">
                  <c:v>21.450941696339999</c:v>
                </c:pt>
                <c:pt idx="85">
                  <c:v>21.706570578914</c:v>
                </c:pt>
                <c:pt idx="86">
                  <c:v>13.181308903973999</c:v>
                </c:pt>
                <c:pt idx="87">
                  <c:v>31.091765123921999</c:v>
                </c:pt>
                <c:pt idx="88">
                  <c:v>27.013033788803</c:v>
                </c:pt>
                <c:pt idx="89">
                  <c:v>6.7677314564150004</c:v>
                </c:pt>
                <c:pt idx="90">
                  <c:v>6.7834934991519997</c:v>
                </c:pt>
                <c:pt idx="91">
                  <c:v>36.465574218839002</c:v>
                </c:pt>
                <c:pt idx="92">
                  <c:v>18.352412195176999</c:v>
                </c:pt>
                <c:pt idx="93">
                  <c:v>16.148753085565001</c:v>
                </c:pt>
                <c:pt idx="94">
                  <c:v>11.612783351913</c:v>
                </c:pt>
                <c:pt idx="95">
                  <c:v>35.026269702275997</c:v>
                </c:pt>
                <c:pt idx="96">
                  <c:v>11.690437222351999</c:v>
                </c:pt>
                <c:pt idx="97">
                  <c:v>7.0272422758889999</c:v>
                </c:pt>
                <c:pt idx="98">
                  <c:v>23.507839864594001</c:v>
                </c:pt>
                <c:pt idx="99">
                  <c:v>42.478878557606002</c:v>
                </c:pt>
                <c:pt idx="100">
                  <c:v>9.486315989185</c:v>
                </c:pt>
                <c:pt idx="101">
                  <c:v>16.677387844565999</c:v>
                </c:pt>
                <c:pt idx="102">
                  <c:v>14.363000909656</c:v>
                </c:pt>
                <c:pt idx="103">
                  <c:v>0</c:v>
                </c:pt>
                <c:pt idx="104">
                  <c:v>2.3969893813369998</c:v>
                </c:pt>
                <c:pt idx="105">
                  <c:v>9.6089170750449995</c:v>
                </c:pt>
                <c:pt idx="106">
                  <c:v>4.8135935882930001</c:v>
                </c:pt>
                <c:pt idx="107">
                  <c:v>4.8289349783900004</c:v>
                </c:pt>
                <c:pt idx="108">
                  <c:v>9.6957944491570007</c:v>
                </c:pt>
                <c:pt idx="109">
                  <c:v>4.8670089796309997</c:v>
                </c:pt>
                <c:pt idx="110">
                  <c:v>7.3033571098180001</c:v>
                </c:pt>
                <c:pt idx="111">
                  <c:v>0</c:v>
                </c:pt>
                <c:pt idx="112">
                  <c:v>4.8825740930609998</c:v>
                </c:pt>
                <c:pt idx="113">
                  <c:v>12.230620581687999</c:v>
                </c:pt>
                <c:pt idx="114">
                  <c:v>14.732965009208</c:v>
                </c:pt>
                <c:pt idx="115">
                  <c:v>7.3909830007390003</c:v>
                </c:pt>
                <c:pt idx="116">
                  <c:v>4.9468216670779999</c:v>
                </c:pt>
                <c:pt idx="117">
                  <c:v>0</c:v>
                </c:pt>
                <c:pt idx="118">
                  <c:v>0</c:v>
                </c:pt>
                <c:pt idx="119">
                  <c:v>7.4779400767729998</c:v>
                </c:pt>
                <c:pt idx="120">
                  <c:v>5.0185687042050002</c:v>
                </c:pt>
                <c:pt idx="121">
                  <c:v>0</c:v>
                </c:pt>
                <c:pt idx="122">
                  <c:v>12.748272609061001</c:v>
                </c:pt>
                <c:pt idx="123">
                  <c:v>2.5734726439850002</c:v>
                </c:pt>
                <c:pt idx="124">
                  <c:v>0</c:v>
                </c:pt>
                <c:pt idx="125">
                  <c:v>2.5799127989469999</c:v>
                </c:pt>
                <c:pt idx="126">
                  <c:v>2.598212429848</c:v>
                </c:pt>
                <c:pt idx="127">
                  <c:v>0</c:v>
                </c:pt>
                <c:pt idx="128">
                  <c:v>2.6349072512639999</c:v>
                </c:pt>
                <c:pt idx="129">
                  <c:v>2.6609898882379999</c:v>
                </c:pt>
                <c:pt idx="131">
                  <c:v>2.6992738953219999</c:v>
                </c:pt>
                <c:pt idx="132">
                  <c:v>2.7057741219759999</c:v>
                </c:pt>
                <c:pt idx="133">
                  <c:v>2.7224959843179999</c:v>
                </c:pt>
                <c:pt idx="135">
                  <c:v>0</c:v>
                </c:pt>
                <c:pt idx="136">
                  <c:v>5.5640561969669999</c:v>
                </c:pt>
                <c:pt idx="137">
                  <c:v>8.4234170995359996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8.6110393524489997</c:v>
                </c:pt>
                <c:pt idx="143">
                  <c:v>2.8905075731290002</c:v>
                </c:pt>
                <c:pt idx="145">
                  <c:v>0</c:v>
                </c:pt>
                <c:pt idx="146">
                  <c:v>2.9268863782699999</c:v>
                </c:pt>
                <c:pt idx="147">
                  <c:v>0</c:v>
                </c:pt>
                <c:pt idx="148">
                  <c:v>5.9215396002959997</c:v>
                </c:pt>
                <c:pt idx="150">
                  <c:v>2.999580058791</c:v>
                </c:pt>
                <c:pt idx="151">
                  <c:v>3.020874241005</c:v>
                </c:pt>
                <c:pt idx="153">
                  <c:v>3.0329683661389999</c:v>
                </c:pt>
                <c:pt idx="154">
                  <c:v>6.0970033228659997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3.1302823514679998</c:v>
                </c:pt>
                <c:pt idx="159">
                  <c:v>3.1346979718500001</c:v>
                </c:pt>
                <c:pt idx="160">
                  <c:v>0</c:v>
                </c:pt>
                <c:pt idx="161">
                  <c:v>3.157662067005</c:v>
                </c:pt>
                <c:pt idx="162">
                  <c:v>6.358289620092</c:v>
                </c:pt>
                <c:pt idx="163">
                  <c:v>3.2032801588819999</c:v>
                </c:pt>
                <c:pt idx="164">
                  <c:v>9.6836668818590006</c:v>
                </c:pt>
                <c:pt idx="165">
                  <c:v>0</c:v>
                </c:pt>
                <c:pt idx="166">
                  <c:v>0</c:v>
                </c:pt>
                <c:pt idx="167">
                  <c:v>6.5152946541999999</c:v>
                </c:pt>
                <c:pt idx="168">
                  <c:v>6.5214555888870001</c:v>
                </c:pt>
                <c:pt idx="169">
                  <c:v>3.26455993732</c:v>
                </c:pt>
                <c:pt idx="170">
                  <c:v>9.8548058603239994</c:v>
                </c:pt>
                <c:pt idx="171">
                  <c:v>0</c:v>
                </c:pt>
                <c:pt idx="172">
                  <c:v>6.6418703506899996</c:v>
                </c:pt>
                <c:pt idx="173">
                  <c:v>0</c:v>
                </c:pt>
                <c:pt idx="174">
                  <c:v>3.33200053312</c:v>
                </c:pt>
                <c:pt idx="175">
                  <c:v>3.3507572711429998</c:v>
                </c:pt>
                <c:pt idx="176">
                  <c:v>0</c:v>
                </c:pt>
                <c:pt idx="177">
                  <c:v>0</c:v>
                </c:pt>
                <c:pt idx="178">
                  <c:v>6.8203519301590001</c:v>
                </c:pt>
                <c:pt idx="179">
                  <c:v>3.4304140509750001</c:v>
                </c:pt>
                <c:pt idx="180">
                  <c:v>3.4360718826230001</c:v>
                </c:pt>
                <c:pt idx="181">
                  <c:v>0</c:v>
                </c:pt>
                <c:pt idx="182">
                  <c:v>0</c:v>
                </c:pt>
                <c:pt idx="183">
                  <c:v>3.4876015763949999</c:v>
                </c:pt>
                <c:pt idx="184">
                  <c:v>3.5104963841879999</c:v>
                </c:pt>
                <c:pt idx="185">
                  <c:v>0</c:v>
                </c:pt>
                <c:pt idx="186">
                  <c:v>3.5583389673700001</c:v>
                </c:pt>
                <c:pt idx="187">
                  <c:v>0</c:v>
                </c:pt>
                <c:pt idx="188">
                  <c:v>0</c:v>
                </c:pt>
                <c:pt idx="189">
                  <c:v>7.1872641678939999</c:v>
                </c:pt>
                <c:pt idx="190">
                  <c:v>3.6155904259159999</c:v>
                </c:pt>
                <c:pt idx="191">
                  <c:v>3.636495872577</c:v>
                </c:pt>
                <c:pt idx="192">
                  <c:v>0</c:v>
                </c:pt>
                <c:pt idx="193">
                  <c:v>7.3459193418049997</c:v>
                </c:pt>
                <c:pt idx="194">
                  <c:v>7.3637702503679998</c:v>
                </c:pt>
                <c:pt idx="195">
                  <c:v>0</c:v>
                </c:pt>
                <c:pt idx="196">
                  <c:v>7.4041166888790002</c:v>
                </c:pt>
                <c:pt idx="197">
                  <c:v>7.4415835689829999</c:v>
                </c:pt>
                <c:pt idx="198">
                  <c:v>7.4797112831439998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11.454316368218</c:v>
                </c:pt>
                <c:pt idx="204">
                  <c:v>0</c:v>
                </c:pt>
                <c:pt idx="205">
                  <c:v>0</c:v>
                </c:pt>
                <c:pt idx="206">
                  <c:v>3.881535535457</c:v>
                </c:pt>
                <c:pt idx="207">
                  <c:v>0</c:v>
                </c:pt>
                <c:pt idx="208">
                  <c:v>7.8189139528510001</c:v>
                </c:pt>
                <c:pt idx="209">
                  <c:v>3.915273481852000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15.994242072853</c:v>
                </c:pt>
                <c:pt idx="214">
                  <c:v>8.0450522928389994</c:v>
                </c:pt>
                <c:pt idx="215">
                  <c:v>0</c:v>
                </c:pt>
                <c:pt idx="216">
                  <c:v>0</c:v>
                </c:pt>
                <c:pt idx="217">
                  <c:v>4.0448165675679997</c:v>
                </c:pt>
                <c:pt idx="218">
                  <c:v>12.190166598943</c:v>
                </c:pt>
                <c:pt idx="219">
                  <c:v>0</c:v>
                </c:pt>
                <c:pt idx="220">
                  <c:v>8.1913499344690006</c:v>
                </c:pt>
                <c:pt idx="221">
                  <c:v>0</c:v>
                </c:pt>
                <c:pt idx="222">
                  <c:v>0</c:v>
                </c:pt>
                <c:pt idx="223">
                  <c:v>4.11201118467</c:v>
                </c:pt>
                <c:pt idx="224">
                  <c:v>8.2416450323479999</c:v>
                </c:pt>
                <c:pt idx="225">
                  <c:v>12.390550140426001</c:v>
                </c:pt>
                <c:pt idx="226">
                  <c:v>8.2754054948690001</c:v>
                </c:pt>
                <c:pt idx="227">
                  <c:v>8.2922177536380008</c:v>
                </c:pt>
                <c:pt idx="228">
                  <c:v>20.776198786668999</c:v>
                </c:pt>
                <c:pt idx="229">
                  <c:v>4.1552397573329998</c:v>
                </c:pt>
                <c:pt idx="230">
                  <c:v>0</c:v>
                </c:pt>
                <c:pt idx="231">
                  <c:v>24.979184013322001</c:v>
                </c:pt>
                <c:pt idx="232">
                  <c:v>20.841148764119001</c:v>
                </c:pt>
                <c:pt idx="233">
                  <c:v>16.696581374962999</c:v>
                </c:pt>
                <c:pt idx="234">
                  <c:v>12.534993523585999</c:v>
                </c:pt>
                <c:pt idx="235">
                  <c:v>12.558081125204</c:v>
                </c:pt>
                <c:pt idx="236">
                  <c:v>16.741304984723001</c:v>
                </c:pt>
                <c:pt idx="237">
                  <c:v>12.552826478095</c:v>
                </c:pt>
                <c:pt idx="238">
                  <c:v>8.3780160857899997</c:v>
                </c:pt>
                <c:pt idx="239">
                  <c:v>16.786973308712</c:v>
                </c:pt>
                <c:pt idx="240">
                  <c:v>33.613445378150999</c:v>
                </c:pt>
                <c:pt idx="241">
                  <c:v>33.670033670033</c:v>
                </c:pt>
                <c:pt idx="242">
                  <c:v>25.296176061385001</c:v>
                </c:pt>
                <c:pt idx="243">
                  <c:v>12.652355446839</c:v>
                </c:pt>
                <c:pt idx="244">
                  <c:v>8.436326823301</c:v>
                </c:pt>
                <c:pt idx="245">
                  <c:v>16.904027384523999</c:v>
                </c:pt>
                <c:pt idx="246">
                  <c:v>33.861000592567002</c:v>
                </c:pt>
                <c:pt idx="247">
                  <c:v>21.198117607156</c:v>
                </c:pt>
                <c:pt idx="248">
                  <c:v>12.741017582604</c:v>
                </c:pt>
                <c:pt idx="249">
                  <c:v>12.765414237691999</c:v>
                </c:pt>
                <c:pt idx="250">
                  <c:v>12.769217672597</c:v>
                </c:pt>
                <c:pt idx="251">
                  <c:v>8.5138989400190006</c:v>
                </c:pt>
                <c:pt idx="252">
                  <c:v>34.107866126624998</c:v>
                </c:pt>
                <c:pt idx="253">
                  <c:v>25.583081055728002</c:v>
                </c:pt>
                <c:pt idx="254">
                  <c:v>29.904306220094998</c:v>
                </c:pt>
                <c:pt idx="255">
                  <c:v>47.038700021380997</c:v>
                </c:pt>
                <c:pt idx="256">
                  <c:v>34.250974012073002</c:v>
                </c:pt>
                <c:pt idx="257">
                  <c:v>17.129887370990001</c:v>
                </c:pt>
                <c:pt idx="258">
                  <c:v>29.982438857239998</c:v>
                </c:pt>
                <c:pt idx="259">
                  <c:v>85.766971139413997</c:v>
                </c:pt>
                <c:pt idx="260">
                  <c:v>72.998969426312996</c:v>
                </c:pt>
                <c:pt idx="261">
                  <c:v>51.592931768347</c:v>
                </c:pt>
                <c:pt idx="262">
                  <c:v>111.93869203943601</c:v>
                </c:pt>
                <c:pt idx="263">
                  <c:v>116.459627329192</c:v>
                </c:pt>
                <c:pt idx="264">
                  <c:v>43.144361032013002</c:v>
                </c:pt>
                <c:pt idx="265">
                  <c:v>25.888850535035999</c:v>
                </c:pt>
                <c:pt idx="266">
                  <c:v>103.685142783082</c:v>
                </c:pt>
                <c:pt idx="267">
                  <c:v>125.416252216407</c:v>
                </c:pt>
                <c:pt idx="268">
                  <c:v>160.200900588846</c:v>
                </c:pt>
                <c:pt idx="269">
                  <c:v>60.705923163644997</c:v>
                </c:pt>
                <c:pt idx="270">
                  <c:v>173.814800330248</c:v>
                </c:pt>
                <c:pt idx="271">
                  <c:v>134.74160038249201</c:v>
                </c:pt>
                <c:pt idx="272">
                  <c:v>69.550097804825</c:v>
                </c:pt>
                <c:pt idx="273">
                  <c:v>200.18277557770099</c:v>
                </c:pt>
                <c:pt idx="274">
                  <c:v>213.37746037275701</c:v>
                </c:pt>
                <c:pt idx="275">
                  <c:v>239.79769794209901</c:v>
                </c:pt>
                <c:pt idx="276">
                  <c:v>165.95335837191001</c:v>
                </c:pt>
                <c:pt idx="277">
                  <c:v>153.21980475419099</c:v>
                </c:pt>
                <c:pt idx="278">
                  <c:v>135.780298716657</c:v>
                </c:pt>
                <c:pt idx="279">
                  <c:v>39.439088518843</c:v>
                </c:pt>
                <c:pt idx="280">
                  <c:v>267.74349295527298</c:v>
                </c:pt>
                <c:pt idx="281">
                  <c:v>246.48972225890199</c:v>
                </c:pt>
                <c:pt idx="282">
                  <c:v>313.45194472650201</c:v>
                </c:pt>
                <c:pt idx="283">
                  <c:v>185.569743295188</c:v>
                </c:pt>
                <c:pt idx="284">
                  <c:v>296.88053881602201</c:v>
                </c:pt>
                <c:pt idx="285">
                  <c:v>199.56539092642601</c:v>
                </c:pt>
                <c:pt idx="286">
                  <c:v>79.882838503528006</c:v>
                </c:pt>
                <c:pt idx="287">
                  <c:v>333.837799341226</c:v>
                </c:pt>
                <c:pt idx="288">
                  <c:v>459.59573423765102</c:v>
                </c:pt>
                <c:pt idx="289">
                  <c:v>210.31905848659699</c:v>
                </c:pt>
                <c:pt idx="290">
                  <c:v>300.974798975787</c:v>
                </c:pt>
                <c:pt idx="291">
                  <c:v>555.02910518478404</c:v>
                </c:pt>
                <c:pt idx="292">
                  <c:v>316.12699272907901</c:v>
                </c:pt>
                <c:pt idx="293">
                  <c:v>117.492882642686</c:v>
                </c:pt>
                <c:pt idx="294">
                  <c:v>380.93510498389998</c:v>
                </c:pt>
                <c:pt idx="295">
                  <c:v>495.477067139415</c:v>
                </c:pt>
                <c:pt idx="296">
                  <c:v>282.84671532846698</c:v>
                </c:pt>
                <c:pt idx="297">
                  <c:v>416.55222924104999</c:v>
                </c:pt>
                <c:pt idx="298">
                  <c:v>331.186752529898</c:v>
                </c:pt>
                <c:pt idx="299">
                  <c:v>174.97007090892299</c:v>
                </c:pt>
                <c:pt idx="300">
                  <c:v>115.207373271889</c:v>
                </c:pt>
                <c:pt idx="301">
                  <c:v>388.67295946696203</c:v>
                </c:pt>
                <c:pt idx="302">
                  <c:v>339.53488372093</c:v>
                </c:pt>
                <c:pt idx="303">
                  <c:v>377.27061015370202</c:v>
                </c:pt>
                <c:pt idx="304">
                  <c:v>257.44242651188898</c:v>
                </c:pt>
                <c:pt idx="305">
                  <c:v>291.97080291970798</c:v>
                </c:pt>
                <c:pt idx="306">
                  <c:v>136.85054976169101</c:v>
                </c:pt>
                <c:pt idx="307">
                  <c:v>118.130699806265</c:v>
                </c:pt>
                <c:pt idx="308">
                  <c:v>318.28978622327702</c:v>
                </c:pt>
                <c:pt idx="309">
                  <c:v>310.66290684892198</c:v>
                </c:pt>
                <c:pt idx="310">
                  <c:v>225.97240251935099</c:v>
                </c:pt>
                <c:pt idx="311">
                  <c:v>246.63893993616401</c:v>
                </c:pt>
                <c:pt idx="312">
                  <c:v>199.86350784829801</c:v>
                </c:pt>
                <c:pt idx="313">
                  <c:v>170.87340721573901</c:v>
                </c:pt>
                <c:pt idx="314">
                  <c:v>87.998044487900003</c:v>
                </c:pt>
                <c:pt idx="315">
                  <c:v>215.94032194738901</c:v>
                </c:pt>
                <c:pt idx="316">
                  <c:v>261.39277964095402</c:v>
                </c:pt>
                <c:pt idx="317">
                  <c:v>173.47343378271199</c:v>
                </c:pt>
                <c:pt idx="318">
                  <c:v>154.52098494666501</c:v>
                </c:pt>
                <c:pt idx="319">
                  <c:v>165.38866335889301</c:v>
                </c:pt>
                <c:pt idx="320">
                  <c:v>105.44286001205001</c:v>
                </c:pt>
                <c:pt idx="321">
                  <c:v>55.318078953985001</c:v>
                </c:pt>
                <c:pt idx="322">
                  <c:v>156.763590391908</c:v>
                </c:pt>
                <c:pt idx="323">
                  <c:v>127.077720734</c:v>
                </c:pt>
                <c:pt idx="324">
                  <c:v>137.62169325653699</c:v>
                </c:pt>
                <c:pt idx="325">
                  <c:v>133.27865491080499</c:v>
                </c:pt>
                <c:pt idx="326">
                  <c:v>46.492406240313997</c:v>
                </c:pt>
                <c:pt idx="327">
                  <c:v>51.792003314688003</c:v>
                </c:pt>
                <c:pt idx="328">
                  <c:v>15.56420233463</c:v>
                </c:pt>
                <c:pt idx="329">
                  <c:v>130.384896213622</c:v>
                </c:pt>
                <c:pt idx="330">
                  <c:v>183.52472340202399</c:v>
                </c:pt>
                <c:pt idx="331">
                  <c:v>153.03430079155601</c:v>
                </c:pt>
                <c:pt idx="332">
                  <c:v>106.281220108406</c:v>
                </c:pt>
                <c:pt idx="333">
                  <c:v>107.12946595961201</c:v>
                </c:pt>
                <c:pt idx="334">
                  <c:v>16.12989945696</c:v>
                </c:pt>
                <c:pt idx="335">
                  <c:v>48.504446240904997</c:v>
                </c:pt>
                <c:pt idx="336">
                  <c:v>124.796527400976</c:v>
                </c:pt>
                <c:pt idx="337">
                  <c:v>120.179176226373</c:v>
                </c:pt>
                <c:pt idx="338">
                  <c:v>104.527699840457</c:v>
                </c:pt>
                <c:pt idx="339">
                  <c:v>104.954979837595</c:v>
                </c:pt>
                <c:pt idx="340">
                  <c:v>105.15829090104</c:v>
                </c:pt>
                <c:pt idx="341">
                  <c:v>72.090057117506007</c:v>
                </c:pt>
                <c:pt idx="342">
                  <c:v>44.449383264806997</c:v>
                </c:pt>
                <c:pt idx="343">
                  <c:v>117.25947847451</c:v>
                </c:pt>
                <c:pt idx="344">
                  <c:v>129.17719741645601</c:v>
                </c:pt>
                <c:pt idx="345">
                  <c:v>169.53941791466499</c:v>
                </c:pt>
                <c:pt idx="346">
                  <c:v>102.087114337568</c:v>
                </c:pt>
                <c:pt idx="347">
                  <c:v>199.01063285381201</c:v>
                </c:pt>
                <c:pt idx="348">
                  <c:v>119.637668774568</c:v>
                </c:pt>
                <c:pt idx="349">
                  <c:v>97.076290543626996</c:v>
                </c:pt>
                <c:pt idx="350">
                  <c:v>367.43598576185502</c:v>
                </c:pt>
                <c:pt idx="351">
                  <c:v>409.78875678171499</c:v>
                </c:pt>
                <c:pt idx="352">
                  <c:v>406.29171745313101</c:v>
                </c:pt>
                <c:pt idx="353">
                  <c:v>455.23520485584203</c:v>
                </c:pt>
                <c:pt idx="354">
                  <c:v>440.73573485338102</c:v>
                </c:pt>
                <c:pt idx="355">
                  <c:v>241.631305987741</c:v>
                </c:pt>
                <c:pt idx="356">
                  <c:v>248.05102763997101</c:v>
                </c:pt>
                <c:pt idx="357">
                  <c:v>498.33887043189299</c:v>
                </c:pt>
                <c:pt idx="358">
                  <c:v>488.61875819330203</c:v>
                </c:pt>
                <c:pt idx="359">
                  <c:v>526.72532471419095</c:v>
                </c:pt>
                <c:pt idx="360">
                  <c:v>1345.58779359644</c:v>
                </c:pt>
                <c:pt idx="361">
                  <c:v>971.16660634575896</c:v>
                </c:pt>
                <c:pt idx="362">
                  <c:v>338.63457700913102</c:v>
                </c:pt>
                <c:pt idx="363">
                  <c:v>472.66997939643602</c:v>
                </c:pt>
                <c:pt idx="364">
                  <c:v>924.01215805471099</c:v>
                </c:pt>
                <c:pt idx="365">
                  <c:v>1046.9292105423301</c:v>
                </c:pt>
                <c:pt idx="366">
                  <c:v>865.74807950249897</c:v>
                </c:pt>
                <c:pt idx="367">
                  <c:v>861.12128984976096</c:v>
                </c:pt>
                <c:pt idx="368">
                  <c:v>697.50367107195302</c:v>
                </c:pt>
                <c:pt idx="369">
                  <c:v>410.16222834404601</c:v>
                </c:pt>
                <c:pt idx="370">
                  <c:v>177.598138281584</c:v>
                </c:pt>
                <c:pt idx="371">
                  <c:v>864.71237581258401</c:v>
                </c:pt>
                <c:pt idx="372">
                  <c:v>994.84156226971197</c:v>
                </c:pt>
                <c:pt idx="373">
                  <c:v>671.05830203779999</c:v>
                </c:pt>
                <c:pt idx="374">
                  <c:v>573.61376673040104</c:v>
                </c:pt>
                <c:pt idx="375">
                  <c:v>587.94405248174201</c:v>
                </c:pt>
                <c:pt idx="376">
                  <c:v>229.14473276769601</c:v>
                </c:pt>
                <c:pt idx="377">
                  <c:v>148.72652909462701</c:v>
                </c:pt>
                <c:pt idx="378">
                  <c:v>583.30747750542901</c:v>
                </c:pt>
                <c:pt idx="379">
                  <c:v>820.38533250466105</c:v>
                </c:pt>
                <c:pt idx="380">
                  <c:v>610.62994579101496</c:v>
                </c:pt>
                <c:pt idx="381">
                  <c:v>424.522412286178</c:v>
                </c:pt>
                <c:pt idx="382">
                  <c:v>319.30879038316999</c:v>
                </c:pt>
                <c:pt idx="383">
                  <c:v>181.692876386190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666-4AA4-849E-83600EF90E5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85</c:f>
              <c:numCache>
                <c:formatCode>m/d/yyyy</c:formatCode>
                <c:ptCount val="3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</c:numCache>
            </c:numRef>
          </c:cat>
          <c:val>
            <c:numRef>
              <c:f>List1!$C$2:$C$385</c:f>
              <c:numCache>
                <c:formatCode>General</c:formatCode>
                <c:ptCount val="38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.9432002565019999</c:v>
                </c:pt>
                <c:pt idx="10">
                  <c:v>0.97160956841099999</c:v>
                </c:pt>
                <c:pt idx="11">
                  <c:v>3.886438273644</c:v>
                </c:pt>
                <c:pt idx="12">
                  <c:v>0</c:v>
                </c:pt>
                <c:pt idx="13">
                  <c:v>0</c:v>
                </c:pt>
                <c:pt idx="14">
                  <c:v>0.97162844928000003</c:v>
                </c:pt>
                <c:pt idx="15">
                  <c:v>0</c:v>
                </c:pt>
                <c:pt idx="16">
                  <c:v>0.97163788999099998</c:v>
                </c:pt>
                <c:pt idx="17">
                  <c:v>3.8865515599639999</c:v>
                </c:pt>
                <c:pt idx="18">
                  <c:v>3.8865893235389999</c:v>
                </c:pt>
                <c:pt idx="19">
                  <c:v>0</c:v>
                </c:pt>
                <c:pt idx="20">
                  <c:v>0</c:v>
                </c:pt>
                <c:pt idx="21">
                  <c:v>4.8583310661120001</c:v>
                </c:pt>
                <c:pt idx="22">
                  <c:v>4.8583310661120001</c:v>
                </c:pt>
                <c:pt idx="23">
                  <c:v>9.7167565466639996</c:v>
                </c:pt>
                <c:pt idx="24">
                  <c:v>3.8867026186650002</c:v>
                </c:pt>
                <c:pt idx="25">
                  <c:v>9.7168509629390005</c:v>
                </c:pt>
                <c:pt idx="26">
                  <c:v>3.886740385175</c:v>
                </c:pt>
                <c:pt idx="27">
                  <c:v>6.8018617667349996</c:v>
                </c:pt>
                <c:pt idx="28">
                  <c:v>13.602798289933</c:v>
                </c:pt>
                <c:pt idx="29">
                  <c:v>5.8293175812209999</c:v>
                </c:pt>
                <c:pt idx="30">
                  <c:v>7.7718948851210001</c:v>
                </c:pt>
                <c:pt idx="31">
                  <c:v>6.7998795449899996</c:v>
                </c:pt>
                <c:pt idx="32">
                  <c:v>12.627366417033</c:v>
                </c:pt>
                <c:pt idx="33">
                  <c:v>0.97126040462700003</c:v>
                </c:pt>
                <c:pt idx="34">
                  <c:v>2.9135548282450001</c:v>
                </c:pt>
                <c:pt idx="35">
                  <c:v>6.797832462563</c:v>
                </c:pt>
                <c:pt idx="36">
                  <c:v>10.681478316599</c:v>
                </c:pt>
                <c:pt idx="37">
                  <c:v>0.97096805514999995</c:v>
                </c:pt>
                <c:pt idx="38">
                  <c:v>6.7962484708439996</c:v>
                </c:pt>
                <c:pt idx="39">
                  <c:v>8.7373551055269996</c:v>
                </c:pt>
                <c:pt idx="40">
                  <c:v>4.8537092045739998</c:v>
                </c:pt>
                <c:pt idx="41">
                  <c:v>2.9119993787729999</c:v>
                </c:pt>
                <c:pt idx="42">
                  <c:v>9.7059108997370007</c:v>
                </c:pt>
                <c:pt idx="43">
                  <c:v>4.8526257557959998</c:v>
                </c:pt>
                <c:pt idx="44">
                  <c:v>4.8522490174190001</c:v>
                </c:pt>
                <c:pt idx="45">
                  <c:v>3.8814978700279998</c:v>
                </c:pt>
                <c:pt idx="46">
                  <c:v>5.8217948593550002</c:v>
                </c:pt>
                <c:pt idx="47">
                  <c:v>0.97022383063700002</c:v>
                </c:pt>
                <c:pt idx="48">
                  <c:v>1.9402970594790001</c:v>
                </c:pt>
                <c:pt idx="49">
                  <c:v>6.790512683707</c:v>
                </c:pt>
                <c:pt idx="50">
                  <c:v>4.8499898150209999</c:v>
                </c:pt>
                <c:pt idx="51">
                  <c:v>7.7594568380210003</c:v>
                </c:pt>
                <c:pt idx="52">
                  <c:v>4.8492842456450003</c:v>
                </c:pt>
                <c:pt idx="53">
                  <c:v>4.8489080259120003</c:v>
                </c:pt>
                <c:pt idx="54">
                  <c:v>3.8788254916409999</c:v>
                </c:pt>
                <c:pt idx="55">
                  <c:v>3.8785246092380001</c:v>
                </c:pt>
                <c:pt idx="56">
                  <c:v>5.8173356602670001</c:v>
                </c:pt>
                <c:pt idx="57">
                  <c:v>0.96948074611199997</c:v>
                </c:pt>
                <c:pt idx="58">
                  <c:v>3.8776222420409998</c:v>
                </c:pt>
                <c:pt idx="59">
                  <c:v>1.938566817551</c:v>
                </c:pt>
                <c:pt idx="60">
                  <c:v>1.938322575643</c:v>
                </c:pt>
                <c:pt idx="61">
                  <c:v>3.8761192294270002</c:v>
                </c:pt>
                <c:pt idx="62">
                  <c:v>0.96890775029300003</c:v>
                </c:pt>
                <c:pt idx="63">
                  <c:v>1.9375714479470001</c:v>
                </c:pt>
                <c:pt idx="64">
                  <c:v>6.7805804176829998</c:v>
                </c:pt>
                <c:pt idx="65">
                  <c:v>1.93706476576</c:v>
                </c:pt>
                <c:pt idx="66">
                  <c:v>2.9052032189650001</c:v>
                </c:pt>
                <c:pt idx="67">
                  <c:v>1.936558348503</c:v>
                </c:pt>
                <c:pt idx="68">
                  <c:v>2.9044719185969998</c:v>
                </c:pt>
                <c:pt idx="69">
                  <c:v>0.96802609798299999</c:v>
                </c:pt>
                <c:pt idx="70">
                  <c:v>5.8074257617400002</c:v>
                </c:pt>
                <c:pt idx="71">
                  <c:v>1.9355463079449999</c:v>
                </c:pt>
                <c:pt idx="72">
                  <c:v>3.8706056530190001</c:v>
                </c:pt>
                <c:pt idx="73">
                  <c:v>2.902589109485</c:v>
                </c:pt>
                <c:pt idx="74">
                  <c:v>1.934797329979</c:v>
                </c:pt>
                <c:pt idx="75">
                  <c:v>1.9345540369300001</c:v>
                </c:pt>
                <c:pt idx="76">
                  <c:v>0.96715540252999999</c:v>
                </c:pt>
                <c:pt idx="77">
                  <c:v>1.934048931437</c:v>
                </c:pt>
                <c:pt idx="78">
                  <c:v>4.8345145663920004</c:v>
                </c:pt>
                <c:pt idx="79">
                  <c:v>5.800632268917</c:v>
                </c:pt>
                <c:pt idx="80">
                  <c:v>0.96665055582399995</c:v>
                </c:pt>
                <c:pt idx="81">
                  <c:v>1.9330581947159999</c:v>
                </c:pt>
                <c:pt idx="82">
                  <c:v>0.96639833006300002</c:v>
                </c:pt>
                <c:pt idx="83">
                  <c:v>0.96627693496900002</c:v>
                </c:pt>
                <c:pt idx="84">
                  <c:v>1.9322924717879999</c:v>
                </c:pt>
                <c:pt idx="85">
                  <c:v>0.96602490412200004</c:v>
                </c:pt>
                <c:pt idx="86">
                  <c:v>0</c:v>
                </c:pt>
                <c:pt idx="87">
                  <c:v>1.9315460094250001</c:v>
                </c:pt>
                <c:pt idx="88">
                  <c:v>3.8626070666390002</c:v>
                </c:pt>
                <c:pt idx="89">
                  <c:v>1.931154347511</c:v>
                </c:pt>
                <c:pt idx="90">
                  <c:v>0.96562379297000001</c:v>
                </c:pt>
                <c:pt idx="91">
                  <c:v>2.897039225911</c:v>
                </c:pt>
                <c:pt idx="92">
                  <c:v>5.79435822654</c:v>
                </c:pt>
                <c:pt idx="93">
                  <c:v>3.863129327912</c:v>
                </c:pt>
                <c:pt idx="94">
                  <c:v>1.9316579420110001</c:v>
                </c:pt>
                <c:pt idx="95">
                  <c:v>1.93176988757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.96608089961400001</c:v>
                </c:pt>
                <c:pt idx="100">
                  <c:v>1.9322738031969999</c:v>
                </c:pt>
                <c:pt idx="101">
                  <c:v>1.9323671497579999</c:v>
                </c:pt>
                <c:pt idx="102">
                  <c:v>0.96623958876799998</c:v>
                </c:pt>
                <c:pt idx="103">
                  <c:v>0.96628627197000005</c:v>
                </c:pt>
                <c:pt idx="104">
                  <c:v>0</c:v>
                </c:pt>
                <c:pt idx="105">
                  <c:v>3.865555963586</c:v>
                </c:pt>
                <c:pt idx="106">
                  <c:v>0.96644502860600001</c:v>
                </c:pt>
                <c:pt idx="107">
                  <c:v>0.96649173166299995</c:v>
                </c:pt>
                <c:pt idx="108">
                  <c:v>1.9330955625790001</c:v>
                </c:pt>
                <c:pt idx="109">
                  <c:v>0.96659449427699995</c:v>
                </c:pt>
                <c:pt idx="110">
                  <c:v>0</c:v>
                </c:pt>
                <c:pt idx="111">
                  <c:v>0</c:v>
                </c:pt>
                <c:pt idx="112">
                  <c:v>0.96674400618699996</c:v>
                </c:pt>
                <c:pt idx="113">
                  <c:v>1.9336001701559999</c:v>
                </c:pt>
                <c:pt idx="114">
                  <c:v>0</c:v>
                </c:pt>
                <c:pt idx="115">
                  <c:v>0</c:v>
                </c:pt>
                <c:pt idx="116">
                  <c:v>0.96694966059999998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.96714604872400001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.96722088423300001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0.96729573132299995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96737994814799999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96751098124900003</c:v>
                </c:pt>
                <c:pt idx="148">
                  <c:v>0</c:v>
                </c:pt>
                <c:pt idx="150">
                  <c:v>0</c:v>
                </c:pt>
                <c:pt idx="151">
                  <c:v>0.96728637480400004</c:v>
                </c:pt>
                <c:pt idx="153">
                  <c:v>0</c:v>
                </c:pt>
                <c:pt idx="154">
                  <c:v>1.9337871287120001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.96596891512000005</c:v>
                </c:pt>
                <c:pt idx="162">
                  <c:v>0.96583829935099996</c:v>
                </c:pt>
                <c:pt idx="163">
                  <c:v>1.931415437803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2.8951380980870001</c:v>
                </c:pt>
                <c:pt idx="169">
                  <c:v>0</c:v>
                </c:pt>
                <c:pt idx="170">
                  <c:v>0.96478533526200005</c:v>
                </c:pt>
                <c:pt idx="171">
                  <c:v>0</c:v>
                </c:pt>
                <c:pt idx="172">
                  <c:v>1.929049557283</c:v>
                </c:pt>
                <c:pt idx="173">
                  <c:v>0.96438525261999997</c:v>
                </c:pt>
                <c:pt idx="174">
                  <c:v>0</c:v>
                </c:pt>
                <c:pt idx="175">
                  <c:v>1.9282498240470001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.96360465228299996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.96360465228299996</c:v>
                </c:pt>
                <c:pt idx="184">
                  <c:v>0</c:v>
                </c:pt>
                <c:pt idx="185">
                  <c:v>0.963697514624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.96392974879899995</c:v>
                </c:pt>
                <c:pt idx="191">
                  <c:v>0.96397620906699999</c:v>
                </c:pt>
                <c:pt idx="192">
                  <c:v>0.964022673813</c:v>
                </c:pt>
                <c:pt idx="193">
                  <c:v>0</c:v>
                </c:pt>
                <c:pt idx="194">
                  <c:v>0.96411561674400004</c:v>
                </c:pt>
                <c:pt idx="195">
                  <c:v>0.96416209493100002</c:v>
                </c:pt>
                <c:pt idx="196">
                  <c:v>0.96419928070700001</c:v>
                </c:pt>
                <c:pt idx="197">
                  <c:v>0.96424576696099995</c:v>
                </c:pt>
                <c:pt idx="198">
                  <c:v>0</c:v>
                </c:pt>
                <c:pt idx="199">
                  <c:v>0.964338752917</c:v>
                </c:pt>
                <c:pt idx="200">
                  <c:v>0</c:v>
                </c:pt>
                <c:pt idx="201">
                  <c:v>0</c:v>
                </c:pt>
                <c:pt idx="202">
                  <c:v>0.964478265482</c:v>
                </c:pt>
                <c:pt idx="203">
                  <c:v>1.929049557283</c:v>
                </c:pt>
                <c:pt idx="204">
                  <c:v>1.929142592574</c:v>
                </c:pt>
                <c:pt idx="205">
                  <c:v>0</c:v>
                </c:pt>
                <c:pt idx="206">
                  <c:v>0.96466434504099996</c:v>
                </c:pt>
                <c:pt idx="207">
                  <c:v>0.96471087614999995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1.9297754706229999</c:v>
                </c:pt>
                <c:pt idx="212">
                  <c:v>0.964776027245</c:v>
                </c:pt>
                <c:pt idx="213">
                  <c:v>1.9293286900819999</c:v>
                </c:pt>
                <c:pt idx="214">
                  <c:v>3.8582107547620001</c:v>
                </c:pt>
                <c:pt idx="215">
                  <c:v>0.96443175680799997</c:v>
                </c:pt>
                <c:pt idx="216">
                  <c:v>0.96432015429100004</c:v>
                </c:pt>
                <c:pt idx="217">
                  <c:v>0.96420857759900003</c:v>
                </c:pt>
                <c:pt idx="218">
                  <c:v>2.8922910801740001</c:v>
                </c:pt>
                <c:pt idx="219">
                  <c:v>0.96397620906699999</c:v>
                </c:pt>
                <c:pt idx="220">
                  <c:v>1.9277294238980001</c:v>
                </c:pt>
                <c:pt idx="221">
                  <c:v>0</c:v>
                </c:pt>
                <c:pt idx="222">
                  <c:v>0.96364179507100001</c:v>
                </c:pt>
                <c:pt idx="223">
                  <c:v>0.96352109147599996</c:v>
                </c:pt>
                <c:pt idx="224">
                  <c:v>0.96340969960800005</c:v>
                </c:pt>
                <c:pt idx="225">
                  <c:v>1.9265966669870001</c:v>
                </c:pt>
                <c:pt idx="226">
                  <c:v>0.96319627050400003</c:v>
                </c:pt>
                <c:pt idx="227">
                  <c:v>5.7784540709199996</c:v>
                </c:pt>
                <c:pt idx="228">
                  <c:v>0.96296438957599995</c:v>
                </c:pt>
                <c:pt idx="229">
                  <c:v>0.962853126384</c:v>
                </c:pt>
                <c:pt idx="230">
                  <c:v>1.9254837777989999</c:v>
                </c:pt>
                <c:pt idx="231">
                  <c:v>3.8530448687069998</c:v>
                </c:pt>
                <c:pt idx="232">
                  <c:v>1.928156874843</c:v>
                </c:pt>
                <c:pt idx="233">
                  <c:v>1.929533438814</c:v>
                </c:pt>
                <c:pt idx="234">
                  <c:v>1.932329810051</c:v>
                </c:pt>
                <c:pt idx="235">
                  <c:v>3.8689958021390001</c:v>
                </c:pt>
                <c:pt idx="236">
                  <c:v>1.934610176049</c:v>
                </c:pt>
                <c:pt idx="237">
                  <c:v>2.9023083025359999</c:v>
                </c:pt>
                <c:pt idx="238">
                  <c:v>2.907286629388</c:v>
                </c:pt>
                <c:pt idx="239">
                  <c:v>4.845524673411</c:v>
                </c:pt>
                <c:pt idx="240">
                  <c:v>3.8865137971229999</c:v>
                </c:pt>
                <c:pt idx="241">
                  <c:v>7.7952195815909997</c:v>
                </c:pt>
                <c:pt idx="242">
                  <c:v>1.959151687319</c:v>
                </c:pt>
                <c:pt idx="243">
                  <c:v>1.95945879748</c:v>
                </c:pt>
                <c:pt idx="244">
                  <c:v>5.8794708476229998</c:v>
                </c:pt>
                <c:pt idx="245">
                  <c:v>5.9020263623840004</c:v>
                </c:pt>
                <c:pt idx="246">
                  <c:v>5.9263356478959999</c:v>
                </c:pt>
                <c:pt idx="247">
                  <c:v>3.9717213440300001</c:v>
                </c:pt>
                <c:pt idx="248">
                  <c:v>4.9891237103110004</c:v>
                </c:pt>
                <c:pt idx="249">
                  <c:v>6.0466194358500003</c:v>
                </c:pt>
                <c:pt idx="250">
                  <c:v>2.017369551841</c:v>
                </c:pt>
                <c:pt idx="251">
                  <c:v>2.0183264037459998</c:v>
                </c:pt>
                <c:pt idx="252">
                  <c:v>10.139828231309</c:v>
                </c:pt>
                <c:pt idx="253">
                  <c:v>12.231792467253999</c:v>
                </c:pt>
                <c:pt idx="254">
                  <c:v>15.375626556782001</c:v>
                </c:pt>
                <c:pt idx="255">
                  <c:v>10.322580645161</c:v>
                </c:pt>
                <c:pt idx="256">
                  <c:v>9.377442042198</c:v>
                </c:pt>
                <c:pt idx="257">
                  <c:v>6.2589973086309998</c:v>
                </c:pt>
                <c:pt idx="258">
                  <c:v>3.131393261241</c:v>
                </c:pt>
                <c:pt idx="259">
                  <c:v>15.744394995381001</c:v>
                </c:pt>
                <c:pt idx="260">
                  <c:v>11.618204670518001</c:v>
                </c:pt>
                <c:pt idx="261">
                  <c:v>13.836852861035</c:v>
                </c:pt>
                <c:pt idx="262">
                  <c:v>29.012604364784998</c:v>
                </c:pt>
                <c:pt idx="263">
                  <c:v>17.41326019764</c:v>
                </c:pt>
                <c:pt idx="264">
                  <c:v>25.076592636204001</c:v>
                </c:pt>
                <c:pt idx="265">
                  <c:v>5.4572046015140003</c:v>
                </c:pt>
                <c:pt idx="266">
                  <c:v>42.908538799220999</c:v>
                </c:pt>
                <c:pt idx="267">
                  <c:v>43.305425392524</c:v>
                </c:pt>
                <c:pt idx="268">
                  <c:v>43.866555688029997</c:v>
                </c:pt>
                <c:pt idx="269">
                  <c:v>20.279633614619001</c:v>
                </c:pt>
                <c:pt idx="270">
                  <c:v>45.500045500044997</c:v>
                </c:pt>
                <c:pt idx="271">
                  <c:v>31.897563254007</c:v>
                </c:pt>
                <c:pt idx="272">
                  <c:v>22.815423226099998</c:v>
                </c:pt>
                <c:pt idx="273">
                  <c:v>66.679696032557999</c:v>
                </c:pt>
                <c:pt idx="274">
                  <c:v>61.479213066071999</c:v>
                </c:pt>
                <c:pt idx="275">
                  <c:v>70.332555767854998</c:v>
                </c:pt>
                <c:pt idx="276">
                  <c:v>73.705984450413993</c:v>
                </c:pt>
                <c:pt idx="277">
                  <c:v>85.938729317210004</c:v>
                </c:pt>
                <c:pt idx="278">
                  <c:v>60.663415107615997</c:v>
                </c:pt>
                <c:pt idx="279">
                  <c:v>20.653626533834998</c:v>
                </c:pt>
                <c:pt idx="280">
                  <c:v>78.445792731506998</c:v>
                </c:pt>
                <c:pt idx="281">
                  <c:v>98.960910440375997</c:v>
                </c:pt>
                <c:pt idx="282">
                  <c:v>110.020628867912</c:v>
                </c:pt>
                <c:pt idx="283">
                  <c:v>61.931243680484997</c:v>
                </c:pt>
                <c:pt idx="284">
                  <c:v>102.923013585837</c:v>
                </c:pt>
                <c:pt idx="285">
                  <c:v>64.446277583005994</c:v>
                </c:pt>
                <c:pt idx="286">
                  <c:v>43.887390120173997</c:v>
                </c:pt>
                <c:pt idx="287">
                  <c:v>89.813344440684006</c:v>
                </c:pt>
                <c:pt idx="288">
                  <c:v>143.64786505007899</c:v>
                </c:pt>
                <c:pt idx="289">
                  <c:v>87.162081853117996</c:v>
                </c:pt>
                <c:pt idx="290">
                  <c:v>124.089344327916</c:v>
                </c:pt>
                <c:pt idx="291">
                  <c:v>134.17361252287</c:v>
                </c:pt>
                <c:pt idx="292">
                  <c:v>108.698605940378</c:v>
                </c:pt>
                <c:pt idx="293">
                  <c:v>68.014255788013003</c:v>
                </c:pt>
                <c:pt idx="294">
                  <c:v>126.22105147623699</c:v>
                </c:pt>
                <c:pt idx="295">
                  <c:v>185.75765557203599</c:v>
                </c:pt>
                <c:pt idx="296">
                  <c:v>96.606182795698004</c:v>
                </c:pt>
                <c:pt idx="297">
                  <c:v>141.59492523787901</c:v>
                </c:pt>
                <c:pt idx="298">
                  <c:v>148.667763632689</c:v>
                </c:pt>
                <c:pt idx="299">
                  <c:v>88.299581662636996</c:v>
                </c:pt>
                <c:pt idx="300">
                  <c:v>66.762456277846994</c:v>
                </c:pt>
                <c:pt idx="301">
                  <c:v>143.56450147959299</c:v>
                </c:pt>
                <c:pt idx="302">
                  <c:v>111.12592790149699</c:v>
                </c:pt>
                <c:pt idx="303">
                  <c:v>113.804824725595</c:v>
                </c:pt>
                <c:pt idx="304">
                  <c:v>112.27090666343</c:v>
                </c:pt>
                <c:pt idx="305">
                  <c:v>105.737832374436</c:v>
                </c:pt>
                <c:pt idx="306">
                  <c:v>73.324076818671003</c:v>
                </c:pt>
                <c:pt idx="307">
                  <c:v>42.223125762361001</c:v>
                </c:pt>
                <c:pt idx="308">
                  <c:v>132.74546057933901</c:v>
                </c:pt>
                <c:pt idx="309">
                  <c:v>115.21290384523</c:v>
                </c:pt>
                <c:pt idx="310">
                  <c:v>92.514445237939995</c:v>
                </c:pt>
                <c:pt idx="311">
                  <c:v>97.007563301545005</c:v>
                </c:pt>
                <c:pt idx="312">
                  <c:v>90.762404195239995</c:v>
                </c:pt>
                <c:pt idx="313">
                  <c:v>55.723476469494997</c:v>
                </c:pt>
                <c:pt idx="314">
                  <c:v>59.277826705507003</c:v>
                </c:pt>
                <c:pt idx="315">
                  <c:v>68.438072099508005</c:v>
                </c:pt>
                <c:pt idx="316">
                  <c:v>89.924947255559005</c:v>
                </c:pt>
                <c:pt idx="317">
                  <c:v>62.916164211187997</c:v>
                </c:pt>
                <c:pt idx="318">
                  <c:v>46.047854347094002</c:v>
                </c:pt>
                <c:pt idx="319">
                  <c:v>57.636887608069003</c:v>
                </c:pt>
                <c:pt idx="320">
                  <c:v>39.748500397485003</c:v>
                </c:pt>
                <c:pt idx="321">
                  <c:v>27.162103433289001</c:v>
                </c:pt>
                <c:pt idx="322">
                  <c:v>85.907512337781</c:v>
                </c:pt>
                <c:pt idx="323">
                  <c:v>75.615063996163002</c:v>
                </c:pt>
                <c:pt idx="324">
                  <c:v>35.311390711244997</c:v>
                </c:pt>
                <c:pt idx="325">
                  <c:v>44.716053063049003</c:v>
                </c:pt>
                <c:pt idx="326">
                  <c:v>20.499058906841</c:v>
                </c:pt>
                <c:pt idx="327">
                  <c:v>13.047287096232999</c:v>
                </c:pt>
                <c:pt idx="328">
                  <c:v>22.374284489027001</c:v>
                </c:pt>
                <c:pt idx="329">
                  <c:v>60.111958522747997</c:v>
                </c:pt>
                <c:pt idx="330">
                  <c:v>85.240187907258004</c:v>
                </c:pt>
                <c:pt idx="331">
                  <c:v>26.780419687434001</c:v>
                </c:pt>
                <c:pt idx="332">
                  <c:v>52.068267283772002</c:v>
                </c:pt>
                <c:pt idx="333">
                  <c:v>44.430707414132002</c:v>
                </c:pt>
                <c:pt idx="334">
                  <c:v>11.599358168847001</c:v>
                </c:pt>
                <c:pt idx="335">
                  <c:v>29.054564472077999</c:v>
                </c:pt>
                <c:pt idx="336">
                  <c:v>80.165806350696002</c:v>
                </c:pt>
                <c:pt idx="337">
                  <c:v>65.279316347522993</c:v>
                </c:pt>
                <c:pt idx="338">
                  <c:v>42.023533178580003</c:v>
                </c:pt>
                <c:pt idx="339">
                  <c:v>38.573980834822002</c:v>
                </c:pt>
                <c:pt idx="340">
                  <c:v>41.542040545031</c:v>
                </c:pt>
                <c:pt idx="341">
                  <c:v>29.189166649292002</c:v>
                </c:pt>
                <c:pt idx="342">
                  <c:v>20.904320923134001</c:v>
                </c:pt>
                <c:pt idx="343">
                  <c:v>48.543689320387998</c:v>
                </c:pt>
                <c:pt idx="344">
                  <c:v>100.29448166958301</c:v>
                </c:pt>
                <c:pt idx="345">
                  <c:v>99.422914820497994</c:v>
                </c:pt>
                <c:pt idx="346">
                  <c:v>91.835395985481</c:v>
                </c:pt>
                <c:pt idx="347">
                  <c:v>79.881065968445995</c:v>
                </c:pt>
                <c:pt idx="348">
                  <c:v>82.414522775364006</c:v>
                </c:pt>
                <c:pt idx="349">
                  <c:v>49.110431502109002</c:v>
                </c:pt>
                <c:pt idx="350">
                  <c:v>157.39533210414999</c:v>
                </c:pt>
                <c:pt idx="351">
                  <c:v>210.78875793290999</c:v>
                </c:pt>
                <c:pt idx="352">
                  <c:v>226.239173655705</c:v>
                </c:pt>
                <c:pt idx="353">
                  <c:v>230.41474654377799</c:v>
                </c:pt>
                <c:pt idx="354">
                  <c:v>209.38023450586201</c:v>
                </c:pt>
                <c:pt idx="355">
                  <c:v>139.84384104416699</c:v>
                </c:pt>
                <c:pt idx="356">
                  <c:v>147.06225635518999</c:v>
                </c:pt>
                <c:pt idx="357">
                  <c:v>279.74329438867801</c:v>
                </c:pt>
                <c:pt idx="358">
                  <c:v>279.09176915799401</c:v>
                </c:pt>
                <c:pt idx="359">
                  <c:v>324.09503610323299</c:v>
                </c:pt>
                <c:pt idx="360">
                  <c:v>667.08259346354998</c:v>
                </c:pt>
                <c:pt idx="361">
                  <c:v>443.65787432117901</c:v>
                </c:pt>
                <c:pt idx="362">
                  <c:v>165.17683637776901</c:v>
                </c:pt>
                <c:pt idx="363">
                  <c:v>235.92362884591901</c:v>
                </c:pt>
                <c:pt idx="364">
                  <c:v>464.80906133033199</c:v>
                </c:pt>
                <c:pt idx="365">
                  <c:v>518.26198020288302</c:v>
                </c:pt>
                <c:pt idx="366">
                  <c:v>401.89358449627599</c:v>
                </c:pt>
                <c:pt idx="367">
                  <c:v>400.821436524234</c:v>
                </c:pt>
                <c:pt idx="368">
                  <c:v>286.15507116552197</c:v>
                </c:pt>
                <c:pt idx="369">
                  <c:v>244.04821197330401</c:v>
                </c:pt>
                <c:pt idx="370">
                  <c:v>134.542555311939</c:v>
                </c:pt>
                <c:pt idx="371">
                  <c:v>421.97253433208402</c:v>
                </c:pt>
                <c:pt idx="372">
                  <c:v>345.63943295095902</c:v>
                </c:pt>
                <c:pt idx="373">
                  <c:v>293.999396924314</c:v>
                </c:pt>
                <c:pt idx="374">
                  <c:v>246.99448042946699</c:v>
                </c:pt>
                <c:pt idx="375">
                  <c:v>243.17957291587501</c:v>
                </c:pt>
                <c:pt idx="376">
                  <c:v>152.07198073754901</c:v>
                </c:pt>
                <c:pt idx="377">
                  <c:v>111.57884059441</c:v>
                </c:pt>
                <c:pt idx="378">
                  <c:v>256.69047195465902</c:v>
                </c:pt>
                <c:pt idx="379">
                  <c:v>229.25263640531799</c:v>
                </c:pt>
                <c:pt idx="380">
                  <c:v>160.80453315636299</c:v>
                </c:pt>
                <c:pt idx="381">
                  <c:v>186.715093229659</c:v>
                </c:pt>
                <c:pt idx="382">
                  <c:v>153.96458814472601</c:v>
                </c:pt>
                <c:pt idx="383">
                  <c:v>82.15872037792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666-4AA4-849E-83600EF90E58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85</c:f>
              <c:numCache>
                <c:formatCode>m/d/yyyy</c:formatCode>
                <c:ptCount val="3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</c:numCache>
            </c:numRef>
          </c:cat>
          <c:val>
            <c:numRef>
              <c:f>List1!$D$2:$D$385</c:f>
              <c:numCache>
                <c:formatCode>General</c:formatCode>
                <c:ptCount val="38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16.906170752324002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10.704345964461</c:v>
                </c:pt>
                <c:pt idx="261">
                  <c:v>9.9314728374209995</c:v>
                </c:pt>
                <c:pt idx="262">
                  <c:v>0</c:v>
                </c:pt>
                <c:pt idx="263">
                  <c:v>0</c:v>
                </c:pt>
                <c:pt idx="264">
                  <c:v>8.1287595512919992</c:v>
                </c:pt>
                <c:pt idx="265">
                  <c:v>0</c:v>
                </c:pt>
                <c:pt idx="266">
                  <c:v>15.231132434696001</c:v>
                </c:pt>
                <c:pt idx="267">
                  <c:v>0</c:v>
                </c:pt>
                <c:pt idx="268">
                  <c:v>6.6155067478160001</c:v>
                </c:pt>
                <c:pt idx="269">
                  <c:v>19.655375745265999</c:v>
                </c:pt>
                <c:pt idx="270">
                  <c:v>12.414649286156999</c:v>
                </c:pt>
                <c:pt idx="271">
                  <c:v>24.629025306323001</c:v>
                </c:pt>
                <c:pt idx="272">
                  <c:v>6.1113487746740001</c:v>
                </c:pt>
                <c:pt idx="273">
                  <c:v>41.08222313516</c:v>
                </c:pt>
                <c:pt idx="274">
                  <c:v>11.227755010385</c:v>
                </c:pt>
                <c:pt idx="275">
                  <c:v>10.688899577788</c:v>
                </c:pt>
                <c:pt idx="276">
                  <c:v>15.074619365861</c:v>
                </c:pt>
                <c:pt idx="277">
                  <c:v>28.036073080697001</c:v>
                </c:pt>
                <c:pt idx="278">
                  <c:v>9.2614031025700001</c:v>
                </c:pt>
                <c:pt idx="279">
                  <c:v>9.2140422003129991</c:v>
                </c:pt>
                <c:pt idx="280">
                  <c:v>40.124832813196001</c:v>
                </c:pt>
                <c:pt idx="281">
                  <c:v>47.466988866832999</c:v>
                </c:pt>
                <c:pt idx="282">
                  <c:v>37.456300982187003</c:v>
                </c:pt>
                <c:pt idx="283">
                  <c:v>20.086774867427</c:v>
                </c:pt>
                <c:pt idx="284">
                  <c:v>53.266369896891</c:v>
                </c:pt>
                <c:pt idx="285">
                  <c:v>7.5683039430859997</c:v>
                </c:pt>
                <c:pt idx="286">
                  <c:v>7.536362951239</c:v>
                </c:pt>
                <c:pt idx="287">
                  <c:v>58.862482525200001</c:v>
                </c:pt>
                <c:pt idx="288">
                  <c:v>60.437997724687001</c:v>
                </c:pt>
                <c:pt idx="289">
                  <c:v>28.282542600578999</c:v>
                </c:pt>
                <c:pt idx="290">
                  <c:v>24.088093599449</c:v>
                </c:pt>
                <c:pt idx="291">
                  <c:v>46.326935804103002</c:v>
                </c:pt>
                <c:pt idx="292">
                  <c:v>13.155298296388001</c:v>
                </c:pt>
                <c:pt idx="293">
                  <c:v>26.238971432319001</c:v>
                </c:pt>
                <c:pt idx="294">
                  <c:v>51.423796361766001</c:v>
                </c:pt>
                <c:pt idx="295">
                  <c:v>50.213406979662999</c:v>
                </c:pt>
                <c:pt idx="296">
                  <c:v>30.697445972495</c:v>
                </c:pt>
                <c:pt idx="297">
                  <c:v>68.913857677902001</c:v>
                </c:pt>
                <c:pt idx="298">
                  <c:v>37.446710450512001</c:v>
                </c:pt>
                <c:pt idx="299">
                  <c:v>25.777625021481001</c:v>
                </c:pt>
                <c:pt idx="300">
                  <c:v>19.945861233793</c:v>
                </c:pt>
                <c:pt idx="301">
                  <c:v>50.373604231381996</c:v>
                </c:pt>
                <c:pt idx="302">
                  <c:v>43.832013807084003</c:v>
                </c:pt>
                <c:pt idx="303">
                  <c:v>48.383194903636003</c:v>
                </c:pt>
                <c:pt idx="304">
                  <c:v>44.663969313225003</c:v>
                </c:pt>
                <c:pt idx="305">
                  <c:v>40.349019014474997</c:v>
                </c:pt>
                <c:pt idx="306">
                  <c:v>25.090954710826001</c:v>
                </c:pt>
                <c:pt idx="307">
                  <c:v>32.501625081253998</c:v>
                </c:pt>
                <c:pt idx="308">
                  <c:v>39.355552822531003</c:v>
                </c:pt>
                <c:pt idx="309">
                  <c:v>38.618425816417002</c:v>
                </c:pt>
                <c:pt idx="310">
                  <c:v>37.822376663592998</c:v>
                </c:pt>
                <c:pt idx="311">
                  <c:v>39.456887547869997</c:v>
                </c:pt>
                <c:pt idx="312">
                  <c:v>38.289150656545999</c:v>
                </c:pt>
                <c:pt idx="313">
                  <c:v>13.433637829124001</c:v>
                </c:pt>
                <c:pt idx="314">
                  <c:v>11.152996810242</c:v>
                </c:pt>
                <c:pt idx="315">
                  <c:v>41.83363424193</c:v>
                </c:pt>
                <c:pt idx="316">
                  <c:v>43.450867931086002</c:v>
                </c:pt>
                <c:pt idx="317">
                  <c:v>32.170891777119998</c:v>
                </c:pt>
                <c:pt idx="318">
                  <c:v>18.99816351086</c:v>
                </c:pt>
                <c:pt idx="319">
                  <c:v>33.122179439406999</c:v>
                </c:pt>
                <c:pt idx="320">
                  <c:v>10.316084839481</c:v>
                </c:pt>
                <c:pt idx="321">
                  <c:v>14.408628710221</c:v>
                </c:pt>
                <c:pt idx="322">
                  <c:v>24.446889133357001</c:v>
                </c:pt>
                <c:pt idx="323">
                  <c:v>34.299088047776003</c:v>
                </c:pt>
                <c:pt idx="324">
                  <c:v>12.007444615661001</c:v>
                </c:pt>
                <c:pt idx="325">
                  <c:v>21.958717610891</c:v>
                </c:pt>
                <c:pt idx="326">
                  <c:v>3.9923347173420001</c:v>
                </c:pt>
                <c:pt idx="327">
                  <c:v>1.996167358671</c:v>
                </c:pt>
                <c:pt idx="328">
                  <c:v>5.987545904518</c:v>
                </c:pt>
                <c:pt idx="329">
                  <c:v>35.648505733467999</c:v>
                </c:pt>
                <c:pt idx="330">
                  <c:v>21.600392734412999</c:v>
                </c:pt>
                <c:pt idx="331">
                  <c:v>25.277075636787</c:v>
                </c:pt>
                <c:pt idx="332">
                  <c:v>11.573627560665001</c:v>
                </c:pt>
                <c:pt idx="333">
                  <c:v>17.333692846961998</c:v>
                </c:pt>
                <c:pt idx="334">
                  <c:v>5.7774525285980003</c:v>
                </c:pt>
                <c:pt idx="335">
                  <c:v>23.080473919064001</c:v>
                </c:pt>
                <c:pt idx="336">
                  <c:v>64.834766690185006</c:v>
                </c:pt>
                <c:pt idx="337">
                  <c:v>47.171591380805999</c:v>
                </c:pt>
                <c:pt idx="338">
                  <c:v>29.881966233378002</c:v>
                </c:pt>
                <c:pt idx="339">
                  <c:v>38.726810017334003</c:v>
                </c:pt>
                <c:pt idx="340">
                  <c:v>50.629249240561002</c:v>
                </c:pt>
                <c:pt idx="341">
                  <c:v>18.034265103696999</c:v>
                </c:pt>
                <c:pt idx="342">
                  <c:v>21.605271686291001</c:v>
                </c:pt>
                <c:pt idx="343">
                  <c:v>48.244438488340002</c:v>
                </c:pt>
                <c:pt idx="344">
                  <c:v>63.774380414178999</c:v>
                </c:pt>
                <c:pt idx="345">
                  <c:v>71.918469013663994</c:v>
                </c:pt>
                <c:pt idx="346">
                  <c:v>64.338874591361005</c:v>
                </c:pt>
                <c:pt idx="347">
                  <c:v>72.238179597873994</c:v>
                </c:pt>
                <c:pt idx="348">
                  <c:v>58.340053878755</c:v>
                </c:pt>
                <c:pt idx="349">
                  <c:v>49.706900689039998</c:v>
                </c:pt>
                <c:pt idx="350">
                  <c:v>177.38056659446301</c:v>
                </c:pt>
                <c:pt idx="351">
                  <c:v>179.81035096944899</c:v>
                </c:pt>
                <c:pt idx="352">
                  <c:v>202.43597962144401</c:v>
                </c:pt>
                <c:pt idx="353">
                  <c:v>189.59095332371299</c:v>
                </c:pt>
                <c:pt idx="354">
                  <c:v>248.399573219525</c:v>
                </c:pt>
                <c:pt idx="355">
                  <c:v>116.61030501924</c:v>
                </c:pt>
                <c:pt idx="356">
                  <c:v>136.527863338938</c:v>
                </c:pt>
                <c:pt idx="357">
                  <c:v>359.71223021582699</c:v>
                </c:pt>
                <c:pt idx="358">
                  <c:v>307.17907218708098</c:v>
                </c:pt>
                <c:pt idx="359">
                  <c:v>358.35223723575598</c:v>
                </c:pt>
                <c:pt idx="360">
                  <c:v>514.00415786802796</c:v>
                </c:pt>
                <c:pt idx="361">
                  <c:v>435.91411841249101</c:v>
                </c:pt>
                <c:pt idx="362">
                  <c:v>151.15560901082401</c:v>
                </c:pt>
                <c:pt idx="363">
                  <c:v>242.09927695182299</c:v>
                </c:pt>
                <c:pt idx="364">
                  <c:v>480.979449059903</c:v>
                </c:pt>
                <c:pt idx="365">
                  <c:v>533.06626175168799</c:v>
                </c:pt>
                <c:pt idx="366">
                  <c:v>433.48642333413898</c:v>
                </c:pt>
                <c:pt idx="367">
                  <c:v>400.38591413410501</c:v>
                </c:pt>
                <c:pt idx="368">
                  <c:v>294.81037604345198</c:v>
                </c:pt>
                <c:pt idx="369">
                  <c:v>277.07485825939301</c:v>
                </c:pt>
                <c:pt idx="370">
                  <c:v>140.90821751104801</c:v>
                </c:pt>
                <c:pt idx="371">
                  <c:v>503.742084052964</c:v>
                </c:pt>
                <c:pt idx="372">
                  <c:v>387.86911412609697</c:v>
                </c:pt>
                <c:pt idx="373">
                  <c:v>318.608318863205</c:v>
                </c:pt>
                <c:pt idx="374">
                  <c:v>284.64205069490799</c:v>
                </c:pt>
                <c:pt idx="375">
                  <c:v>256.81674064679697</c:v>
                </c:pt>
                <c:pt idx="376">
                  <c:v>166.41308482312601</c:v>
                </c:pt>
                <c:pt idx="377">
                  <c:v>125.176276718797</c:v>
                </c:pt>
                <c:pt idx="378">
                  <c:v>356.063363453656</c:v>
                </c:pt>
                <c:pt idx="379">
                  <c:v>306.603028100009</c:v>
                </c:pt>
                <c:pt idx="380">
                  <c:v>236.78727031634699</c:v>
                </c:pt>
                <c:pt idx="381">
                  <c:v>214.43324976743401</c:v>
                </c:pt>
                <c:pt idx="382">
                  <c:v>190.422233762963</c:v>
                </c:pt>
                <c:pt idx="383">
                  <c:v>111.7089902136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666-4AA4-849E-83600EF90E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062317472436659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85</c:f>
              <c:numCache>
                <c:formatCode>m/d/yyyy</c:formatCode>
                <c:ptCount val="3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</c:numCache>
            </c:numRef>
          </c:cat>
          <c:val>
            <c:numRef>
              <c:f>List1!$B$2:$B$385</c:f>
              <c:numCache>
                <c:formatCode>General</c:formatCode>
                <c:ptCount val="384"/>
                <c:pt idx="0">
                  <c:v>109.967880668517</c:v>
                </c:pt>
                <c:pt idx="1">
                  <c:v>142.309797482211</c:v>
                </c:pt>
                <c:pt idx="2">
                  <c:v>146.342000154044</c:v>
                </c:pt>
                <c:pt idx="3">
                  <c:v>87.196467991169001</c:v>
                </c:pt>
                <c:pt idx="4">
                  <c:v>112.820626265084</c:v>
                </c:pt>
                <c:pt idx="5">
                  <c:v>50.982521861526997</c:v>
                </c:pt>
                <c:pt idx="6">
                  <c:v>42.203933850886003</c:v>
                </c:pt>
                <c:pt idx="7">
                  <c:v>139.708512160228</c:v>
                </c:pt>
                <c:pt idx="8">
                  <c:v>165.97416674193801</c:v>
                </c:pt>
                <c:pt idx="9">
                  <c:v>146.54363107640799</c:v>
                </c:pt>
                <c:pt idx="10">
                  <c:v>115.13502198032199</c:v>
                </c:pt>
                <c:pt idx="11">
                  <c:v>119.730665275736</c:v>
                </c:pt>
                <c:pt idx="12">
                  <c:v>60.598859315589003</c:v>
                </c:pt>
                <c:pt idx="13">
                  <c:v>26.205138589448001</c:v>
                </c:pt>
                <c:pt idx="14">
                  <c:v>144.35090613552001</c:v>
                </c:pt>
                <c:pt idx="15">
                  <c:v>145.34522596834699</c:v>
                </c:pt>
                <c:pt idx="16">
                  <c:v>160.454366014237</c:v>
                </c:pt>
                <c:pt idx="17">
                  <c:v>161.75952620112901</c:v>
                </c:pt>
                <c:pt idx="18">
                  <c:v>139.560848529959</c:v>
                </c:pt>
                <c:pt idx="19">
                  <c:v>73.256170167422994</c:v>
                </c:pt>
                <c:pt idx="20">
                  <c:v>40.061962502002999</c:v>
                </c:pt>
                <c:pt idx="21">
                  <c:v>158.831435048803</c:v>
                </c:pt>
                <c:pt idx="22">
                  <c:v>198.26790951272901</c:v>
                </c:pt>
                <c:pt idx="23">
                  <c:v>187.02806816754301</c:v>
                </c:pt>
                <c:pt idx="24">
                  <c:v>199.13285409634599</c:v>
                </c:pt>
                <c:pt idx="25">
                  <c:v>189.99728575306</c:v>
                </c:pt>
                <c:pt idx="26">
                  <c:v>102.985138672349</c:v>
                </c:pt>
                <c:pt idx="27">
                  <c:v>41.496744651927997</c:v>
                </c:pt>
                <c:pt idx="28">
                  <c:v>214.93587986671</c:v>
                </c:pt>
                <c:pt idx="29">
                  <c:v>226.52358894681001</c:v>
                </c:pt>
                <c:pt idx="30">
                  <c:v>227.61760242792101</c:v>
                </c:pt>
                <c:pt idx="31">
                  <c:v>206.899587668197</c:v>
                </c:pt>
                <c:pt idx="32">
                  <c:v>182.92053282981001</c:v>
                </c:pt>
                <c:pt idx="33">
                  <c:v>89.993066108020997</c:v>
                </c:pt>
                <c:pt idx="34">
                  <c:v>39.831821199380002</c:v>
                </c:pt>
                <c:pt idx="35">
                  <c:v>156.98354634717001</c:v>
                </c:pt>
                <c:pt idx="36">
                  <c:v>196.29128436956199</c:v>
                </c:pt>
                <c:pt idx="37">
                  <c:v>176.077354661573</c:v>
                </c:pt>
                <c:pt idx="38">
                  <c:v>151.37889688249399</c:v>
                </c:pt>
                <c:pt idx="39">
                  <c:v>183.59668924003</c:v>
                </c:pt>
                <c:pt idx="40">
                  <c:v>87.279731539584006</c:v>
                </c:pt>
                <c:pt idx="41">
                  <c:v>42.138213339754003</c:v>
                </c:pt>
                <c:pt idx="42">
                  <c:v>138.84487104028</c:v>
                </c:pt>
                <c:pt idx="43">
                  <c:v>178.60386268692801</c:v>
                </c:pt>
                <c:pt idx="44">
                  <c:v>136.68879000045499</c:v>
                </c:pt>
                <c:pt idx="45">
                  <c:v>121.815662448799</c:v>
                </c:pt>
                <c:pt idx="46">
                  <c:v>100.86961837661001</c:v>
                </c:pt>
                <c:pt idx="47">
                  <c:v>38.201766449680001</c:v>
                </c:pt>
                <c:pt idx="48">
                  <c:v>27.50527184377</c:v>
                </c:pt>
                <c:pt idx="49">
                  <c:v>124.309392265193</c:v>
                </c:pt>
                <c:pt idx="50">
                  <c:v>106.35674209260701</c:v>
                </c:pt>
                <c:pt idx="51">
                  <c:v>89.812477740440997</c:v>
                </c:pt>
                <c:pt idx="52">
                  <c:v>96.701239959446994</c:v>
                </c:pt>
                <c:pt idx="53">
                  <c:v>88.030936586286003</c:v>
                </c:pt>
                <c:pt idx="54">
                  <c:v>28.316579357213001</c:v>
                </c:pt>
                <c:pt idx="55">
                  <c:v>11.023101270806</c:v>
                </c:pt>
                <c:pt idx="56">
                  <c:v>98.540958072411001</c:v>
                </c:pt>
                <c:pt idx="57">
                  <c:v>117.101653860344</c:v>
                </c:pt>
                <c:pt idx="58">
                  <c:v>90.845675908051007</c:v>
                </c:pt>
                <c:pt idx="59">
                  <c:v>50.813008130081002</c:v>
                </c:pt>
                <c:pt idx="60">
                  <c:v>31.577722747593999</c:v>
                </c:pt>
                <c:pt idx="61">
                  <c:v>13.316909145386999</c:v>
                </c:pt>
                <c:pt idx="62">
                  <c:v>26.660890140469</c:v>
                </c:pt>
                <c:pt idx="63">
                  <c:v>15.181161864921</c:v>
                </c:pt>
                <c:pt idx="64">
                  <c:v>83.722042817843999</c:v>
                </c:pt>
                <c:pt idx="65">
                  <c:v>69.274865346979993</c:v>
                </c:pt>
                <c:pt idx="66">
                  <c:v>73.723012111637004</c:v>
                </c:pt>
                <c:pt idx="67">
                  <c:v>58.932780912921999</c:v>
                </c:pt>
                <c:pt idx="68">
                  <c:v>23.268301413995999</c:v>
                </c:pt>
                <c:pt idx="69">
                  <c:v>7.166018739139</c:v>
                </c:pt>
                <c:pt idx="70">
                  <c:v>49.017827965578</c:v>
                </c:pt>
                <c:pt idx="71">
                  <c:v>57.015688510418997</c:v>
                </c:pt>
                <c:pt idx="72">
                  <c:v>46.669653524491999</c:v>
                </c:pt>
                <c:pt idx="73">
                  <c:v>30.407845224067</c:v>
                </c:pt>
                <c:pt idx="74">
                  <c:v>38.231414753502001</c:v>
                </c:pt>
                <c:pt idx="75">
                  <c:v>13.430287216285</c:v>
                </c:pt>
                <c:pt idx="76">
                  <c:v>7.6930474084040004</c:v>
                </c:pt>
                <c:pt idx="77">
                  <c:v>44.327949735959002</c:v>
                </c:pt>
                <c:pt idx="78">
                  <c:v>43.143176514422997</c:v>
                </c:pt>
                <c:pt idx="79">
                  <c:v>51.601635374905001</c:v>
                </c:pt>
                <c:pt idx="80">
                  <c:v>20.147479550307999</c:v>
                </c:pt>
                <c:pt idx="81">
                  <c:v>28.712647921409001</c:v>
                </c:pt>
                <c:pt idx="82">
                  <c:v>8.262243612252</c:v>
                </c:pt>
                <c:pt idx="83">
                  <c:v>4.1437036423149998</c:v>
                </c:pt>
                <c:pt idx="84">
                  <c:v>25.088331835001998</c:v>
                </c:pt>
                <c:pt idx="85">
                  <c:v>33.823063101152002</c:v>
                </c:pt>
                <c:pt idx="86">
                  <c:v>23.524379811804</c:v>
                </c:pt>
                <c:pt idx="87">
                  <c:v>43.232960809321</c:v>
                </c:pt>
                <c:pt idx="88">
                  <c:v>35.041611914148</c:v>
                </c:pt>
                <c:pt idx="89">
                  <c:v>13.167423793534001</c:v>
                </c:pt>
                <c:pt idx="90">
                  <c:v>8.7968155527690008</c:v>
                </c:pt>
                <c:pt idx="91">
                  <c:v>22.131728045325001</c:v>
                </c:pt>
                <c:pt idx="92">
                  <c:v>31.182484353073999</c:v>
                </c:pt>
                <c:pt idx="93">
                  <c:v>24.647650630754999</c:v>
                </c:pt>
                <c:pt idx="94">
                  <c:v>29.295774647887001</c:v>
                </c:pt>
                <c:pt idx="95">
                  <c:v>29.473111453704</c:v>
                </c:pt>
                <c:pt idx="96">
                  <c:v>9.0863659079550008</c:v>
                </c:pt>
                <c:pt idx="97">
                  <c:v>4.5502115848380003</c:v>
                </c:pt>
                <c:pt idx="98">
                  <c:v>15.974076356084</c:v>
                </c:pt>
                <c:pt idx="99">
                  <c:v>29.798060833887</c:v>
                </c:pt>
                <c:pt idx="100">
                  <c:v>11.522330276074999</c:v>
                </c:pt>
                <c:pt idx="101">
                  <c:v>23.140648863793999</c:v>
                </c:pt>
                <c:pt idx="102">
                  <c:v>18.579158828583999</c:v>
                </c:pt>
                <c:pt idx="103">
                  <c:v>11.620070185223</c:v>
                </c:pt>
                <c:pt idx="104">
                  <c:v>4.6519200800130003</c:v>
                </c:pt>
                <c:pt idx="105">
                  <c:v>9.3244440300240008</c:v>
                </c:pt>
                <c:pt idx="106">
                  <c:v>11.678968513499999</c:v>
                </c:pt>
                <c:pt idx="107">
                  <c:v>4.6824151897539998</c:v>
                </c:pt>
                <c:pt idx="108">
                  <c:v>14.082854125101999</c:v>
                </c:pt>
                <c:pt idx="109">
                  <c:v>9.4206311822890001</c:v>
                </c:pt>
                <c:pt idx="110">
                  <c:v>2.3562676720070002</c:v>
                </c:pt>
                <c:pt idx="111">
                  <c:v>0</c:v>
                </c:pt>
                <c:pt idx="112">
                  <c:v>9.4520191875979993</c:v>
                </c:pt>
                <c:pt idx="113">
                  <c:v>0</c:v>
                </c:pt>
                <c:pt idx="114">
                  <c:v>11.876484560570001</c:v>
                </c:pt>
                <c:pt idx="115">
                  <c:v>0</c:v>
                </c:pt>
                <c:pt idx="116">
                  <c:v>2.3911432055659998</c:v>
                </c:pt>
                <c:pt idx="117">
                  <c:v>2.4039617289290001</c:v>
                </c:pt>
                <c:pt idx="118">
                  <c:v>0</c:v>
                </c:pt>
                <c:pt idx="119">
                  <c:v>2.4151089214120001</c:v>
                </c:pt>
                <c:pt idx="120">
                  <c:v>2.4332084286329998</c:v>
                </c:pt>
                <c:pt idx="121">
                  <c:v>2.4482800832409999</c:v>
                </c:pt>
                <c:pt idx="122">
                  <c:v>2.4726157802330002</c:v>
                </c:pt>
                <c:pt idx="123">
                  <c:v>4.9839268359539997</c:v>
                </c:pt>
                <c:pt idx="124">
                  <c:v>2.497440123873</c:v>
                </c:pt>
                <c:pt idx="125">
                  <c:v>0</c:v>
                </c:pt>
                <c:pt idx="126">
                  <c:v>2.5187013575799999</c:v>
                </c:pt>
                <c:pt idx="127">
                  <c:v>2.5367190076349999</c:v>
                </c:pt>
                <c:pt idx="128">
                  <c:v>5.1097314836100001</c:v>
                </c:pt>
                <c:pt idx="129">
                  <c:v>2.5773195876280002</c:v>
                </c:pt>
                <c:pt idx="131">
                  <c:v>2.6118525870389999</c:v>
                </c:pt>
                <c:pt idx="132">
                  <c:v>0</c:v>
                </c:pt>
                <c:pt idx="133">
                  <c:v>0</c:v>
                </c:pt>
                <c:pt idx="135">
                  <c:v>2.6732249786139999</c:v>
                </c:pt>
                <c:pt idx="136">
                  <c:v>5.3861898093280001</c:v>
                </c:pt>
                <c:pt idx="137">
                  <c:v>0</c:v>
                </c:pt>
                <c:pt idx="138">
                  <c:v>2.7270248159250001</c:v>
                </c:pt>
                <c:pt idx="139">
                  <c:v>2.7320911425599999</c:v>
                </c:pt>
                <c:pt idx="141">
                  <c:v>2.7627362139459999</c:v>
                </c:pt>
                <c:pt idx="142">
                  <c:v>8.3365753348520002</c:v>
                </c:pt>
                <c:pt idx="143">
                  <c:v>5.5951881382010002</c:v>
                </c:pt>
                <c:pt idx="145">
                  <c:v>2.831898504757</c:v>
                </c:pt>
                <c:pt idx="146">
                  <c:v>5.6742417794420001</c:v>
                </c:pt>
                <c:pt idx="147">
                  <c:v>0</c:v>
                </c:pt>
                <c:pt idx="148">
                  <c:v>2.8732329617280001</c:v>
                </c:pt>
                <c:pt idx="150">
                  <c:v>0</c:v>
                </c:pt>
                <c:pt idx="151">
                  <c:v>2.936857562408</c:v>
                </c:pt>
                <c:pt idx="153">
                  <c:v>0</c:v>
                </c:pt>
                <c:pt idx="154">
                  <c:v>0</c:v>
                </c:pt>
                <c:pt idx="155">
                  <c:v>2.9898941577459999</c:v>
                </c:pt>
                <c:pt idx="156">
                  <c:v>0</c:v>
                </c:pt>
                <c:pt idx="157">
                  <c:v>6.06777706987</c:v>
                </c:pt>
                <c:pt idx="158">
                  <c:v>12.244398187829001</c:v>
                </c:pt>
                <c:pt idx="159">
                  <c:v>0</c:v>
                </c:pt>
                <c:pt idx="160">
                  <c:v>0</c:v>
                </c:pt>
                <c:pt idx="161">
                  <c:v>3.0957835428139999</c:v>
                </c:pt>
                <c:pt idx="162">
                  <c:v>0</c:v>
                </c:pt>
                <c:pt idx="163">
                  <c:v>6.2827883014479999</c:v>
                </c:pt>
                <c:pt idx="164">
                  <c:v>3.1676644809779999</c:v>
                </c:pt>
                <c:pt idx="165">
                  <c:v>9.5825214808180004</c:v>
                </c:pt>
                <c:pt idx="166">
                  <c:v>3.2022543870879998</c:v>
                </c:pt>
                <c:pt idx="167">
                  <c:v>3.207184092366</c:v>
                </c:pt>
                <c:pt idx="168">
                  <c:v>6.4248771242240004</c:v>
                </c:pt>
                <c:pt idx="169">
                  <c:v>6.4372847532910002</c:v>
                </c:pt>
                <c:pt idx="170">
                  <c:v>3.241701244813</c:v>
                </c:pt>
                <c:pt idx="171">
                  <c:v>6.5278412429000001</c:v>
                </c:pt>
                <c:pt idx="172">
                  <c:v>3.2865547047030002</c:v>
                </c:pt>
                <c:pt idx="173">
                  <c:v>0</c:v>
                </c:pt>
                <c:pt idx="174">
                  <c:v>6.6004422296290004</c:v>
                </c:pt>
                <c:pt idx="175">
                  <c:v>6.6401062416989998</c:v>
                </c:pt>
                <c:pt idx="176">
                  <c:v>3.338563749874</c:v>
                </c:pt>
                <c:pt idx="177">
                  <c:v>0</c:v>
                </c:pt>
                <c:pt idx="178">
                  <c:v>10.160192366307999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3.4886966229410001</c:v>
                </c:pt>
                <c:pt idx="184">
                  <c:v>7.0323488044999998</c:v>
                </c:pt>
                <c:pt idx="185">
                  <c:v>0</c:v>
                </c:pt>
                <c:pt idx="186">
                  <c:v>7.1423469752160003</c:v>
                </c:pt>
                <c:pt idx="187">
                  <c:v>3.585385966799</c:v>
                </c:pt>
                <c:pt idx="188">
                  <c:v>0</c:v>
                </c:pt>
                <c:pt idx="189">
                  <c:v>21.702958836720999</c:v>
                </c:pt>
                <c:pt idx="190">
                  <c:v>0</c:v>
                </c:pt>
                <c:pt idx="191">
                  <c:v>0</c:v>
                </c:pt>
                <c:pt idx="192">
                  <c:v>7.3860698722200002</c:v>
                </c:pt>
                <c:pt idx="193">
                  <c:v>18.581834398691001</c:v>
                </c:pt>
                <c:pt idx="194">
                  <c:v>7.4515648286139999</c:v>
                </c:pt>
                <c:pt idx="195">
                  <c:v>3.7353853049939998</c:v>
                </c:pt>
                <c:pt idx="196">
                  <c:v>0</c:v>
                </c:pt>
                <c:pt idx="197">
                  <c:v>3.7778617302600002</c:v>
                </c:pt>
                <c:pt idx="198">
                  <c:v>3.80083618396</c:v>
                </c:pt>
                <c:pt idx="199">
                  <c:v>0</c:v>
                </c:pt>
                <c:pt idx="200">
                  <c:v>7.7011936850209999</c:v>
                </c:pt>
                <c:pt idx="201">
                  <c:v>3.8629427898170001</c:v>
                </c:pt>
                <c:pt idx="202">
                  <c:v>3.8717670744919999</c:v>
                </c:pt>
                <c:pt idx="203">
                  <c:v>0</c:v>
                </c:pt>
                <c:pt idx="204">
                  <c:v>7.8539171411739996</c:v>
                </c:pt>
                <c:pt idx="205">
                  <c:v>7.909202356942</c:v>
                </c:pt>
                <c:pt idx="206">
                  <c:v>7.953234978327</c:v>
                </c:pt>
                <c:pt idx="207">
                  <c:v>4.0078553965769999</c:v>
                </c:pt>
                <c:pt idx="208">
                  <c:v>0</c:v>
                </c:pt>
                <c:pt idx="209">
                  <c:v>4.023659115599</c:v>
                </c:pt>
                <c:pt idx="210">
                  <c:v>0</c:v>
                </c:pt>
                <c:pt idx="211">
                  <c:v>4.0711639457719997</c:v>
                </c:pt>
                <c:pt idx="212">
                  <c:v>4.0965138666990004</c:v>
                </c:pt>
                <c:pt idx="213">
                  <c:v>12.357375293486999</c:v>
                </c:pt>
                <c:pt idx="214">
                  <c:v>12.457954403885999</c:v>
                </c:pt>
                <c:pt idx="215">
                  <c:v>16.652789342214</c:v>
                </c:pt>
                <c:pt idx="216">
                  <c:v>4.1703156928969998</c:v>
                </c:pt>
                <c:pt idx="217">
                  <c:v>12.597102666386</c:v>
                </c:pt>
                <c:pt idx="218">
                  <c:v>8.4445195068400007</c:v>
                </c:pt>
                <c:pt idx="219">
                  <c:v>4.2452029206989996</c:v>
                </c:pt>
                <c:pt idx="220">
                  <c:v>4.2633015006820001</c:v>
                </c:pt>
                <c:pt idx="221">
                  <c:v>4.2879807898460003</c:v>
                </c:pt>
                <c:pt idx="222">
                  <c:v>0</c:v>
                </c:pt>
                <c:pt idx="223">
                  <c:v>4.3001505052670002</c:v>
                </c:pt>
                <c:pt idx="224">
                  <c:v>0</c:v>
                </c:pt>
                <c:pt idx="225">
                  <c:v>0</c:v>
                </c:pt>
                <c:pt idx="226">
                  <c:v>4.3451811940549998</c:v>
                </c:pt>
                <c:pt idx="227">
                  <c:v>17.432232197331999</c:v>
                </c:pt>
                <c:pt idx="228">
                  <c:v>13.115900843788999</c:v>
                </c:pt>
                <c:pt idx="229">
                  <c:v>0</c:v>
                </c:pt>
                <c:pt idx="230">
                  <c:v>21.893335668622001</c:v>
                </c:pt>
                <c:pt idx="231">
                  <c:v>17.565431231335999</c:v>
                </c:pt>
                <c:pt idx="232">
                  <c:v>13.201320132013</c:v>
                </c:pt>
                <c:pt idx="233">
                  <c:v>13.227513227513001</c:v>
                </c:pt>
                <c:pt idx="234">
                  <c:v>13.25381047051</c:v>
                </c:pt>
                <c:pt idx="235">
                  <c:v>22.156245845703001</c:v>
                </c:pt>
                <c:pt idx="236">
                  <c:v>13.302589570768999</c:v>
                </c:pt>
                <c:pt idx="237">
                  <c:v>8.8742956027860007</c:v>
                </c:pt>
                <c:pt idx="238">
                  <c:v>8.8920505068459992</c:v>
                </c:pt>
                <c:pt idx="239">
                  <c:v>17.818165619849001</c:v>
                </c:pt>
                <c:pt idx="240">
                  <c:v>22.320432123564999</c:v>
                </c:pt>
                <c:pt idx="241">
                  <c:v>44.714720085852001</c:v>
                </c:pt>
                <c:pt idx="242">
                  <c:v>49.342843044901002</c:v>
                </c:pt>
                <c:pt idx="243">
                  <c:v>17.954933117873999</c:v>
                </c:pt>
                <c:pt idx="244">
                  <c:v>17.968644714972001</c:v>
                </c:pt>
                <c:pt idx="245">
                  <c:v>27.014858171994</c:v>
                </c:pt>
                <c:pt idx="246">
                  <c:v>36.081544290095003</c:v>
                </c:pt>
                <c:pt idx="247">
                  <c:v>31.618410949004002</c:v>
                </c:pt>
                <c:pt idx="248">
                  <c:v>27.150549798633001</c:v>
                </c:pt>
                <c:pt idx="249">
                  <c:v>22.691173133650999</c:v>
                </c:pt>
                <c:pt idx="250">
                  <c:v>18.168604651161999</c:v>
                </c:pt>
                <c:pt idx="251">
                  <c:v>13.636983499249</c:v>
                </c:pt>
                <c:pt idx="252">
                  <c:v>45.545636728001</c:v>
                </c:pt>
                <c:pt idx="253">
                  <c:v>82.023239917975999</c:v>
                </c:pt>
                <c:pt idx="254">
                  <c:v>31.960551547803</c:v>
                </c:pt>
                <c:pt idx="255">
                  <c:v>45.764495904077002</c:v>
                </c:pt>
                <c:pt idx="256">
                  <c:v>13.757050488375</c:v>
                </c:pt>
                <c:pt idx="257">
                  <c:v>22.945252627231</c:v>
                </c:pt>
                <c:pt idx="258">
                  <c:v>27.549474264198999</c:v>
                </c:pt>
                <c:pt idx="259">
                  <c:v>124.229318119076</c:v>
                </c:pt>
                <c:pt idx="260">
                  <c:v>96.778653394165005</c:v>
                </c:pt>
                <c:pt idx="261">
                  <c:v>124.619219052893</c:v>
                </c:pt>
                <c:pt idx="262">
                  <c:v>129.39599796663401</c:v>
                </c:pt>
                <c:pt idx="263">
                  <c:v>78.751100199193004</c:v>
                </c:pt>
                <c:pt idx="264">
                  <c:v>74.170220656406002</c:v>
                </c:pt>
                <c:pt idx="265">
                  <c:v>41.740098321120001</c:v>
                </c:pt>
                <c:pt idx="266">
                  <c:v>144.011892595001</c:v>
                </c:pt>
                <c:pt idx="267">
                  <c:v>200.148948054366</c:v>
                </c:pt>
                <c:pt idx="268">
                  <c:v>167.785234899328</c:v>
                </c:pt>
                <c:pt idx="269">
                  <c:v>107.386310579886</c:v>
                </c:pt>
                <c:pt idx="270">
                  <c:v>187.17828731867101</c:v>
                </c:pt>
                <c:pt idx="271">
                  <c:v>135.79957855303201</c:v>
                </c:pt>
                <c:pt idx="272">
                  <c:v>79.651407955769997</c:v>
                </c:pt>
                <c:pt idx="273">
                  <c:v>276.77440540413698</c:v>
                </c:pt>
                <c:pt idx="274">
                  <c:v>291.12081513828201</c:v>
                </c:pt>
                <c:pt idx="275">
                  <c:v>253.93839642605201</c:v>
                </c:pt>
                <c:pt idx="276">
                  <c:v>259.20165889061599</c:v>
                </c:pt>
                <c:pt idx="277">
                  <c:v>269.31254429482601</c:v>
                </c:pt>
                <c:pt idx="278">
                  <c:v>99.295474963355005</c:v>
                </c:pt>
                <c:pt idx="279">
                  <c:v>61.523899668717</c:v>
                </c:pt>
                <c:pt idx="280">
                  <c:v>213.37126600284401</c:v>
                </c:pt>
                <c:pt idx="281">
                  <c:v>290.03423354887701</c:v>
                </c:pt>
                <c:pt idx="282">
                  <c:v>286.21857558555502</c:v>
                </c:pt>
                <c:pt idx="283">
                  <c:v>257.81809501074201</c:v>
                </c:pt>
                <c:pt idx="284">
                  <c:v>392.66388928793702</c:v>
                </c:pt>
                <c:pt idx="285">
                  <c:v>153.44042196116001</c:v>
                </c:pt>
                <c:pt idx="286">
                  <c:v>105.591552675785</c:v>
                </c:pt>
                <c:pt idx="287">
                  <c:v>327.30073161339999</c:v>
                </c:pt>
                <c:pt idx="288">
                  <c:v>391.05875537102298</c:v>
                </c:pt>
                <c:pt idx="289">
                  <c:v>329.218106995884</c:v>
                </c:pt>
                <c:pt idx="290">
                  <c:v>359.327959599883</c:v>
                </c:pt>
                <c:pt idx="291">
                  <c:v>658.08715998829996</c:v>
                </c:pt>
                <c:pt idx="292">
                  <c:v>312.45423033735199</c:v>
                </c:pt>
                <c:pt idx="293">
                  <c:v>200.32247031807199</c:v>
                </c:pt>
                <c:pt idx="294">
                  <c:v>426.38698294452001</c:v>
                </c:pt>
                <c:pt idx="295">
                  <c:v>520.75657086710805</c:v>
                </c:pt>
                <c:pt idx="296">
                  <c:v>408.72605505490702</c:v>
                </c:pt>
                <c:pt idx="297">
                  <c:v>607.64746566544795</c:v>
                </c:pt>
                <c:pt idx="298">
                  <c:v>367.42800397219401</c:v>
                </c:pt>
                <c:pt idx="299">
                  <c:v>253.668241730912</c:v>
                </c:pt>
                <c:pt idx="300">
                  <c:v>164.35081428357901</c:v>
                </c:pt>
                <c:pt idx="301">
                  <c:v>485.41260071060401</c:v>
                </c:pt>
                <c:pt idx="302">
                  <c:v>517.87420182010101</c:v>
                </c:pt>
                <c:pt idx="303">
                  <c:v>377.56745871929098</c:v>
                </c:pt>
                <c:pt idx="304">
                  <c:v>323.673696454761</c:v>
                </c:pt>
                <c:pt idx="305">
                  <c:v>310.780517627878</c:v>
                </c:pt>
                <c:pt idx="306">
                  <c:v>234.64599061416001</c:v>
                </c:pt>
                <c:pt idx="307">
                  <c:v>107.224917028338</c:v>
                </c:pt>
                <c:pt idx="308">
                  <c:v>420.98778108635298</c:v>
                </c:pt>
                <c:pt idx="309">
                  <c:v>391.89398236477001</c:v>
                </c:pt>
                <c:pt idx="310">
                  <c:v>357.71683342837798</c:v>
                </c:pt>
                <c:pt idx="311">
                  <c:v>255.79452912925399</c:v>
                </c:pt>
                <c:pt idx="312">
                  <c:v>252.37919974761999</c:v>
                </c:pt>
                <c:pt idx="313">
                  <c:v>142.24001685807599</c:v>
                </c:pt>
                <c:pt idx="314">
                  <c:v>131.821776957553</c:v>
                </c:pt>
                <c:pt idx="315">
                  <c:v>275.54048325561598</c:v>
                </c:pt>
                <c:pt idx="316">
                  <c:v>446.87982124807098</c:v>
                </c:pt>
                <c:pt idx="317">
                  <c:v>251.175716117999</c:v>
                </c:pt>
                <c:pt idx="318">
                  <c:v>236.20356452651899</c:v>
                </c:pt>
                <c:pt idx="319">
                  <c:v>248.68897659079801</c:v>
                </c:pt>
                <c:pt idx="320">
                  <c:v>146.23050259965299</c:v>
                </c:pt>
                <c:pt idx="321">
                  <c:v>108.40695972681399</c:v>
                </c:pt>
                <c:pt idx="322">
                  <c:v>277.74752205642</c:v>
                </c:pt>
                <c:pt idx="323">
                  <c:v>240.84514751765201</c:v>
                </c:pt>
                <c:pt idx="324">
                  <c:v>71.354080904550003</c:v>
                </c:pt>
                <c:pt idx="325">
                  <c:v>148.96551724137899</c:v>
                </c:pt>
                <c:pt idx="326">
                  <c:v>33.353716159874999</c:v>
                </c:pt>
                <c:pt idx="327">
                  <c:v>33.418736771749998</c:v>
                </c:pt>
                <c:pt idx="328">
                  <c:v>66.938138004126998</c:v>
                </c:pt>
                <c:pt idx="329">
                  <c:v>128.85875959437499</c:v>
                </c:pt>
                <c:pt idx="330">
                  <c:v>275.90090090090001</c:v>
                </c:pt>
                <c:pt idx="331">
                  <c:v>215.114633455986</c:v>
                </c:pt>
                <c:pt idx="332">
                  <c:v>148.01320733234601</c:v>
                </c:pt>
                <c:pt idx="333">
                  <c:v>206.599713055954</c:v>
                </c:pt>
                <c:pt idx="334">
                  <c:v>28.816782894357001</c:v>
                </c:pt>
                <c:pt idx="335">
                  <c:v>46.245447713739999</c:v>
                </c:pt>
                <c:pt idx="336">
                  <c:v>168.86973737844201</c:v>
                </c:pt>
                <c:pt idx="337">
                  <c:v>158.31134564643699</c:v>
                </c:pt>
                <c:pt idx="338">
                  <c:v>171.121732460022</c:v>
                </c:pt>
                <c:pt idx="339">
                  <c:v>195.53238134739499</c:v>
                </c:pt>
                <c:pt idx="340">
                  <c:v>118.786007008374</c:v>
                </c:pt>
                <c:pt idx="341">
                  <c:v>35.722791140746999</c:v>
                </c:pt>
                <c:pt idx="342">
                  <c:v>23.874895547331001</c:v>
                </c:pt>
                <c:pt idx="343">
                  <c:v>156.137400912803</c:v>
                </c:pt>
                <c:pt idx="344">
                  <c:v>223.51093391325301</c:v>
                </c:pt>
                <c:pt idx="345">
                  <c:v>169.964793007162</c:v>
                </c:pt>
                <c:pt idx="346">
                  <c:v>207.34235882424599</c:v>
                </c:pt>
                <c:pt idx="347">
                  <c:v>220.30475491096001</c:v>
                </c:pt>
                <c:pt idx="348">
                  <c:v>159.509202453987</c:v>
                </c:pt>
                <c:pt idx="349">
                  <c:v>141.477517377129</c:v>
                </c:pt>
                <c:pt idx="350">
                  <c:v>291.00365302457999</c:v>
                </c:pt>
                <c:pt idx="351">
                  <c:v>404.70705435526997</c:v>
                </c:pt>
                <c:pt idx="352">
                  <c:v>456.64956837232501</c:v>
                </c:pt>
                <c:pt idx="353">
                  <c:v>484.24627381925598</c:v>
                </c:pt>
                <c:pt idx="354">
                  <c:v>386.61427303840702</c:v>
                </c:pt>
                <c:pt idx="355">
                  <c:v>311.64536030019701</c:v>
                </c:pt>
                <c:pt idx="356">
                  <c:v>235.98443778302101</c:v>
                </c:pt>
                <c:pt idx="357">
                  <c:v>493.49484073575502</c:v>
                </c:pt>
                <c:pt idx="358">
                  <c:v>579.374275782155</c:v>
                </c:pt>
                <c:pt idx="359">
                  <c:v>769.87772530245104</c:v>
                </c:pt>
                <c:pt idx="360">
                  <c:v>1325.4499382756101</c:v>
                </c:pt>
                <c:pt idx="361">
                  <c:v>1005.41881569497</c:v>
                </c:pt>
                <c:pt idx="362">
                  <c:v>347.04033525405902</c:v>
                </c:pt>
                <c:pt idx="363">
                  <c:v>269.20551543007201</c:v>
                </c:pt>
                <c:pt idx="364">
                  <c:v>882.856766372381</c:v>
                </c:pt>
                <c:pt idx="365">
                  <c:v>1194.5617740232301</c:v>
                </c:pt>
                <c:pt idx="366">
                  <c:v>1050.7533703409899</c:v>
                </c:pt>
                <c:pt idx="367">
                  <c:v>999.27205347098095</c:v>
                </c:pt>
                <c:pt idx="368">
                  <c:v>828.527871677603</c:v>
                </c:pt>
                <c:pt idx="369">
                  <c:v>484.05278164577902</c:v>
                </c:pt>
                <c:pt idx="370">
                  <c:v>179.128242552909</c:v>
                </c:pt>
                <c:pt idx="371">
                  <c:v>836.98684734954099</c:v>
                </c:pt>
                <c:pt idx="372">
                  <c:v>918.16367265469</c:v>
                </c:pt>
                <c:pt idx="373">
                  <c:v>760.10134684624597</c:v>
                </c:pt>
                <c:pt idx="374">
                  <c:v>721.49108156857505</c:v>
                </c:pt>
                <c:pt idx="375">
                  <c:v>535.76212161800095</c:v>
                </c:pt>
                <c:pt idx="376">
                  <c:v>221.149979895456</c:v>
                </c:pt>
                <c:pt idx="377">
                  <c:v>80.455916862218999</c:v>
                </c:pt>
                <c:pt idx="378">
                  <c:v>443.36960902861699</c:v>
                </c:pt>
                <c:pt idx="379">
                  <c:v>733.51278600269097</c:v>
                </c:pt>
                <c:pt idx="380">
                  <c:v>539.41069381700402</c:v>
                </c:pt>
                <c:pt idx="381">
                  <c:v>357.721382289416</c:v>
                </c:pt>
                <c:pt idx="382">
                  <c:v>351.77919090786003</c:v>
                </c:pt>
                <c:pt idx="383">
                  <c:v>135.372952484092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B55-4851-8113-CB904A1C35C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85</c:f>
              <c:numCache>
                <c:formatCode>m/d/yyyy</c:formatCode>
                <c:ptCount val="3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</c:numCache>
            </c:numRef>
          </c:cat>
          <c:val>
            <c:numRef>
              <c:f>List1!$C$2:$C$385</c:f>
              <c:numCache>
                <c:formatCode>General</c:formatCode>
                <c:ptCount val="38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.1687269572760002</c:v>
                </c:pt>
                <c:pt idx="9">
                  <c:v>0</c:v>
                </c:pt>
                <c:pt idx="10">
                  <c:v>1.0845869350649999</c:v>
                </c:pt>
                <c:pt idx="11">
                  <c:v>1.0846928149940001</c:v>
                </c:pt>
                <c:pt idx="12">
                  <c:v>1.0847987155979999</c:v>
                </c:pt>
                <c:pt idx="13">
                  <c:v>0</c:v>
                </c:pt>
                <c:pt idx="14">
                  <c:v>1.085010578853</c:v>
                </c:pt>
                <c:pt idx="15">
                  <c:v>3.2553849492700002</c:v>
                </c:pt>
                <c:pt idx="16">
                  <c:v>0</c:v>
                </c:pt>
                <c:pt idx="17">
                  <c:v>4.3413612338140002</c:v>
                </c:pt>
                <c:pt idx="18">
                  <c:v>3.2563390065990001</c:v>
                </c:pt>
                <c:pt idx="19">
                  <c:v>2.1711047666600001</c:v>
                </c:pt>
                <c:pt idx="20">
                  <c:v>0</c:v>
                </c:pt>
                <c:pt idx="21">
                  <c:v>1.0857763300759999</c:v>
                </c:pt>
                <c:pt idx="22">
                  <c:v>7.6011770965669996</c:v>
                </c:pt>
                <c:pt idx="23">
                  <c:v>1.0859885754</c:v>
                </c:pt>
                <c:pt idx="24">
                  <c:v>4.3443789167290001</c:v>
                </c:pt>
                <c:pt idx="25">
                  <c:v>9.7759143195420002</c:v>
                </c:pt>
                <c:pt idx="26">
                  <c:v>3.2589566993279999</c:v>
                </c:pt>
                <c:pt idx="27">
                  <c:v>1.086425118148</c:v>
                </c:pt>
                <c:pt idx="28">
                  <c:v>2.1726850041280001</c:v>
                </c:pt>
                <c:pt idx="29">
                  <c:v>6.5175593912589997</c:v>
                </c:pt>
                <c:pt idx="30">
                  <c:v>8.6894184606689997</c:v>
                </c:pt>
                <c:pt idx="31">
                  <c:v>2.171953563632</c:v>
                </c:pt>
                <c:pt idx="32">
                  <c:v>2.1715762386119999</c:v>
                </c:pt>
                <c:pt idx="33">
                  <c:v>6.513597134017</c:v>
                </c:pt>
                <c:pt idx="34">
                  <c:v>1.0854109908709999</c:v>
                </c:pt>
                <c:pt idx="35">
                  <c:v>4.3408429917079996</c:v>
                </c:pt>
                <c:pt idx="36">
                  <c:v>2.1700447029199998</c:v>
                </c:pt>
                <c:pt idx="37">
                  <c:v>3.2545020611840001</c:v>
                </c:pt>
                <c:pt idx="38">
                  <c:v>6.5078745281790003</c:v>
                </c:pt>
                <c:pt idx="39">
                  <c:v>6.5066747638609996</c:v>
                </c:pt>
                <c:pt idx="40">
                  <c:v>1.0842576629909999</c:v>
                </c:pt>
                <c:pt idx="41">
                  <c:v>2.1681391945359998</c:v>
                </c:pt>
                <c:pt idx="42">
                  <c:v>8.6710527741939991</c:v>
                </c:pt>
                <c:pt idx="43">
                  <c:v>2.1673638353669999</c:v>
                </c:pt>
                <c:pt idx="44">
                  <c:v>0</c:v>
                </c:pt>
                <c:pt idx="45">
                  <c:v>6.4998375040619996</c:v>
                </c:pt>
                <c:pt idx="46">
                  <c:v>6.4987110889670001</c:v>
                </c:pt>
                <c:pt idx="47">
                  <c:v>1.0829191167709999</c:v>
                </c:pt>
                <c:pt idx="48">
                  <c:v>1.082731515066</c:v>
                </c:pt>
                <c:pt idx="49">
                  <c:v>4.3301759133960003</c:v>
                </c:pt>
                <c:pt idx="50">
                  <c:v>7.5764955461019996</c:v>
                </c:pt>
                <c:pt idx="51">
                  <c:v>6.492944333823</c:v>
                </c:pt>
                <c:pt idx="52">
                  <c:v>4.327880204275</c:v>
                </c:pt>
                <c:pt idx="53">
                  <c:v>0</c:v>
                </c:pt>
                <c:pt idx="54">
                  <c:v>1.0815955697840001</c:v>
                </c:pt>
                <c:pt idx="55">
                  <c:v>0</c:v>
                </c:pt>
                <c:pt idx="56">
                  <c:v>4.3248386294580001</c:v>
                </c:pt>
                <c:pt idx="57">
                  <c:v>5.4051132371220003</c:v>
                </c:pt>
                <c:pt idx="58">
                  <c:v>5.4041201011649997</c:v>
                </c:pt>
                <c:pt idx="59">
                  <c:v>2.1608773161900001</c:v>
                </c:pt>
                <c:pt idx="60">
                  <c:v>1.080053570657</c:v>
                </c:pt>
                <c:pt idx="61">
                  <c:v>3.2390062728750002</c:v>
                </c:pt>
                <c:pt idx="62">
                  <c:v>0</c:v>
                </c:pt>
                <c:pt idx="63">
                  <c:v>1.0788883134809999</c:v>
                </c:pt>
                <c:pt idx="64">
                  <c:v>0</c:v>
                </c:pt>
                <c:pt idx="65">
                  <c:v>4.3124824805389999</c:v>
                </c:pt>
                <c:pt idx="66">
                  <c:v>2.1554511359220001</c:v>
                </c:pt>
                <c:pt idx="67">
                  <c:v>1.0773424117379999</c:v>
                </c:pt>
                <c:pt idx="68">
                  <c:v>2.153919055721</c:v>
                </c:pt>
                <c:pt idx="69">
                  <c:v>0</c:v>
                </c:pt>
                <c:pt idx="70">
                  <c:v>1.0761829941559999</c:v>
                </c:pt>
                <c:pt idx="71">
                  <c:v>2.1516018675900002</c:v>
                </c:pt>
                <c:pt idx="72">
                  <c:v>1.075419144611</c:v>
                </c:pt>
                <c:pt idx="73">
                  <c:v>3.2251128789500001</c:v>
                </c:pt>
                <c:pt idx="74">
                  <c:v>2.1492896597670001</c:v>
                </c:pt>
                <c:pt idx="75">
                  <c:v>2.1485277213780001</c:v>
                </c:pt>
                <c:pt idx="76">
                  <c:v>1.0738831615119999</c:v>
                </c:pt>
                <c:pt idx="77">
                  <c:v>3.2205081961930002</c:v>
                </c:pt>
                <c:pt idx="78">
                  <c:v>2.1462221125259999</c:v>
                </c:pt>
                <c:pt idx="79">
                  <c:v>2.1454623471350001</c:v>
                </c:pt>
                <c:pt idx="80">
                  <c:v>2.1447031194699999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4.2832972822470001</c:v>
                </c:pt>
                <c:pt idx="85">
                  <c:v>4.2817842194839999</c:v>
                </c:pt>
                <c:pt idx="86">
                  <c:v>2.140113211988</c:v>
                </c:pt>
                <c:pt idx="87">
                  <c:v>3.2090366471979999</c:v>
                </c:pt>
                <c:pt idx="88">
                  <c:v>1.069301425378</c:v>
                </c:pt>
                <c:pt idx="89">
                  <c:v>0</c:v>
                </c:pt>
                <c:pt idx="90">
                  <c:v>0</c:v>
                </c:pt>
                <c:pt idx="91">
                  <c:v>3.2074241176910001</c:v>
                </c:pt>
                <c:pt idx="92">
                  <c:v>3.2076641789439999</c:v>
                </c:pt>
                <c:pt idx="93">
                  <c:v>0</c:v>
                </c:pt>
                <c:pt idx="94">
                  <c:v>1.069370034112</c:v>
                </c:pt>
                <c:pt idx="95">
                  <c:v>2.138877303303</c:v>
                </c:pt>
                <c:pt idx="96">
                  <c:v>0</c:v>
                </c:pt>
                <c:pt idx="97">
                  <c:v>0</c:v>
                </c:pt>
                <c:pt idx="98">
                  <c:v>3.2090023211780001</c:v>
                </c:pt>
                <c:pt idx="99">
                  <c:v>2.1394950791610001</c:v>
                </c:pt>
                <c:pt idx="100">
                  <c:v>4.2792648223030003</c:v>
                </c:pt>
                <c:pt idx="101">
                  <c:v>1.0698963270449999</c:v>
                </c:pt>
                <c:pt idx="102">
                  <c:v>1.0699650121440001</c:v>
                </c:pt>
                <c:pt idx="103">
                  <c:v>0</c:v>
                </c:pt>
                <c:pt idx="104">
                  <c:v>1.0701138601139999</c:v>
                </c:pt>
                <c:pt idx="105">
                  <c:v>4.2807761047069999</c:v>
                </c:pt>
                <c:pt idx="106">
                  <c:v>2.1405254990100002</c:v>
                </c:pt>
                <c:pt idx="107">
                  <c:v>1.070342937877</c:v>
                </c:pt>
                <c:pt idx="108">
                  <c:v>2.1408233606640001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1.0707211306810001</c:v>
                </c:pt>
                <c:pt idx="113">
                  <c:v>0</c:v>
                </c:pt>
                <c:pt idx="114">
                  <c:v>1.0708701891150001</c:v>
                </c:pt>
                <c:pt idx="115">
                  <c:v>1.0709389993139999</c:v>
                </c:pt>
                <c:pt idx="116">
                  <c:v>1.0710192890570001</c:v>
                </c:pt>
                <c:pt idx="117">
                  <c:v>1.071088118419</c:v>
                </c:pt>
                <c:pt idx="118">
                  <c:v>0</c:v>
                </c:pt>
                <c:pt idx="119">
                  <c:v>1.0712372790569999</c:v>
                </c:pt>
                <c:pt idx="120">
                  <c:v>0</c:v>
                </c:pt>
                <c:pt idx="121">
                  <c:v>0</c:v>
                </c:pt>
                <c:pt idx="122">
                  <c:v>1.071306136440999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1.071375002678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50">
                  <c:v>0</c:v>
                </c:pt>
                <c:pt idx="151">
                  <c:v>1.071673525377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1.0712143285619999</c:v>
                </c:pt>
                <c:pt idx="157">
                  <c:v>3.213367609254</c:v>
                </c:pt>
                <c:pt idx="158">
                  <c:v>0</c:v>
                </c:pt>
                <c:pt idx="159">
                  <c:v>0</c:v>
                </c:pt>
                <c:pt idx="160">
                  <c:v>1.070847254347</c:v>
                </c:pt>
                <c:pt idx="161">
                  <c:v>1.0707555250980001</c:v>
                </c:pt>
                <c:pt idx="162">
                  <c:v>0</c:v>
                </c:pt>
                <c:pt idx="163">
                  <c:v>2.1411442274749999</c:v>
                </c:pt>
                <c:pt idx="164">
                  <c:v>1.070480431617</c:v>
                </c:pt>
                <c:pt idx="165">
                  <c:v>2.1408004452860001</c:v>
                </c:pt>
                <c:pt idx="166">
                  <c:v>0</c:v>
                </c:pt>
                <c:pt idx="167">
                  <c:v>0</c:v>
                </c:pt>
                <c:pt idx="168">
                  <c:v>2.1402506233469998</c:v>
                </c:pt>
                <c:pt idx="169">
                  <c:v>3.2101011181849999</c:v>
                </c:pt>
                <c:pt idx="170">
                  <c:v>0</c:v>
                </c:pt>
                <c:pt idx="171">
                  <c:v>1.0698505418790001</c:v>
                </c:pt>
                <c:pt idx="172">
                  <c:v>1.0697589833009999</c:v>
                </c:pt>
                <c:pt idx="173">
                  <c:v>0</c:v>
                </c:pt>
                <c:pt idx="174">
                  <c:v>0</c:v>
                </c:pt>
                <c:pt idx="175">
                  <c:v>1.06948440157</c:v>
                </c:pt>
                <c:pt idx="176">
                  <c:v>3.2081787169420002</c:v>
                </c:pt>
                <c:pt idx="177">
                  <c:v>1.069301425378</c:v>
                </c:pt>
                <c:pt idx="178">
                  <c:v>1.069209960759</c:v>
                </c:pt>
                <c:pt idx="179">
                  <c:v>1.0691185117869999</c:v>
                </c:pt>
                <c:pt idx="180">
                  <c:v>1.069027078455</c:v>
                </c:pt>
                <c:pt idx="181">
                  <c:v>1.0691985287820001</c:v>
                </c:pt>
                <c:pt idx="182">
                  <c:v>2.1387400682250002</c:v>
                </c:pt>
                <c:pt idx="183">
                  <c:v>3.2086247834170001</c:v>
                </c:pt>
                <c:pt idx="184">
                  <c:v>1.069713209888</c:v>
                </c:pt>
                <c:pt idx="185">
                  <c:v>1.0698848803859999</c:v>
                </c:pt>
                <c:pt idx="186">
                  <c:v>2.140113211988</c:v>
                </c:pt>
                <c:pt idx="187">
                  <c:v>0</c:v>
                </c:pt>
                <c:pt idx="188">
                  <c:v>0</c:v>
                </c:pt>
                <c:pt idx="189">
                  <c:v>2.1411213052270002</c:v>
                </c:pt>
                <c:pt idx="190">
                  <c:v>1.0707325952410001</c:v>
                </c:pt>
                <c:pt idx="191">
                  <c:v>1.070904593109</c:v>
                </c:pt>
                <c:pt idx="192">
                  <c:v>0</c:v>
                </c:pt>
                <c:pt idx="193">
                  <c:v>2.1424745581139999</c:v>
                </c:pt>
                <c:pt idx="194">
                  <c:v>0</c:v>
                </c:pt>
                <c:pt idx="195">
                  <c:v>0</c:v>
                </c:pt>
                <c:pt idx="196">
                  <c:v>1.071753925298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1.0724320614280001</c:v>
                </c:pt>
                <c:pt idx="201">
                  <c:v>1.072604605764</c:v>
                </c:pt>
                <c:pt idx="202">
                  <c:v>1.0727772056289999</c:v>
                </c:pt>
                <c:pt idx="203">
                  <c:v>1.0729498610520001</c:v>
                </c:pt>
                <c:pt idx="204">
                  <c:v>1.0731225720599999</c:v>
                </c:pt>
                <c:pt idx="205">
                  <c:v>3.2198514575189998</c:v>
                </c:pt>
                <c:pt idx="206">
                  <c:v>0</c:v>
                </c:pt>
                <c:pt idx="207">
                  <c:v>1.0736295119279999</c:v>
                </c:pt>
                <c:pt idx="208">
                  <c:v>0</c:v>
                </c:pt>
                <c:pt idx="209">
                  <c:v>0</c:v>
                </c:pt>
                <c:pt idx="210">
                  <c:v>1.0741484688009999</c:v>
                </c:pt>
                <c:pt idx="211">
                  <c:v>0</c:v>
                </c:pt>
                <c:pt idx="212">
                  <c:v>1.0743677345880001</c:v>
                </c:pt>
                <c:pt idx="213">
                  <c:v>2.1488509019799999</c:v>
                </c:pt>
                <c:pt idx="214">
                  <c:v>3.2234148857289999</c:v>
                </c:pt>
                <c:pt idx="215">
                  <c:v>1.074529356142</c:v>
                </c:pt>
                <c:pt idx="216">
                  <c:v>0</c:v>
                </c:pt>
                <c:pt idx="217">
                  <c:v>2.1492665627849998</c:v>
                </c:pt>
                <c:pt idx="218">
                  <c:v>2.1493589536919999</c:v>
                </c:pt>
                <c:pt idx="219">
                  <c:v>0</c:v>
                </c:pt>
                <c:pt idx="220">
                  <c:v>2.1495668622770001</c:v>
                </c:pt>
                <c:pt idx="221">
                  <c:v>1.0748411922129999</c:v>
                </c:pt>
                <c:pt idx="222">
                  <c:v>0</c:v>
                </c:pt>
                <c:pt idx="223">
                  <c:v>2.1498903555909998</c:v>
                </c:pt>
                <c:pt idx="224">
                  <c:v>2.1499828001369998</c:v>
                </c:pt>
                <c:pt idx="225">
                  <c:v>3.2251475505</c:v>
                </c:pt>
                <c:pt idx="226">
                  <c:v>4.3003816588720003</c:v>
                </c:pt>
                <c:pt idx="227">
                  <c:v>3.2254596279959999</c:v>
                </c:pt>
                <c:pt idx="228">
                  <c:v>1.0752110101600001</c:v>
                </c:pt>
                <c:pt idx="229">
                  <c:v>2.1505376344079998</c:v>
                </c:pt>
                <c:pt idx="230">
                  <c:v>1.075315067314</c:v>
                </c:pt>
                <c:pt idx="231">
                  <c:v>4.3037130284150003</c:v>
                </c:pt>
                <c:pt idx="232">
                  <c:v>6.460296096904</c:v>
                </c:pt>
                <c:pt idx="233">
                  <c:v>5.3874665977070002</c:v>
                </c:pt>
                <c:pt idx="234">
                  <c:v>4.3148084225060002</c:v>
                </c:pt>
                <c:pt idx="235">
                  <c:v>0</c:v>
                </c:pt>
                <c:pt idx="236">
                  <c:v>1.0795988210780001</c:v>
                </c:pt>
                <c:pt idx="237">
                  <c:v>0</c:v>
                </c:pt>
                <c:pt idx="238">
                  <c:v>6.4866968658440003</c:v>
                </c:pt>
                <c:pt idx="239">
                  <c:v>2.1625596055490002</c:v>
                </c:pt>
                <c:pt idx="240">
                  <c:v>4.3348685992949996</c:v>
                </c:pt>
                <c:pt idx="241">
                  <c:v>2.1715998175850002</c:v>
                </c:pt>
                <c:pt idx="242">
                  <c:v>0</c:v>
                </c:pt>
                <c:pt idx="243">
                  <c:v>0</c:v>
                </c:pt>
                <c:pt idx="244">
                  <c:v>3.2724654754890001</c:v>
                </c:pt>
                <c:pt idx="245">
                  <c:v>4.3772775522260003</c:v>
                </c:pt>
                <c:pt idx="246">
                  <c:v>4.39164708724</c:v>
                </c:pt>
                <c:pt idx="247">
                  <c:v>6.6139753298719999</c:v>
                </c:pt>
                <c:pt idx="248">
                  <c:v>11.061090402291001</c:v>
                </c:pt>
                <c:pt idx="249">
                  <c:v>5.5684868193910004</c:v>
                </c:pt>
                <c:pt idx="250">
                  <c:v>3.3431398769720002</c:v>
                </c:pt>
                <c:pt idx="251">
                  <c:v>2.2295549808250001</c:v>
                </c:pt>
                <c:pt idx="252">
                  <c:v>10.069817400644</c:v>
                </c:pt>
                <c:pt idx="253">
                  <c:v>14.605100550498999</c:v>
                </c:pt>
                <c:pt idx="254">
                  <c:v>12.412828093615</c:v>
                </c:pt>
                <c:pt idx="255">
                  <c:v>10.202462194209</c:v>
                </c:pt>
                <c:pt idx="256">
                  <c:v>12.550057616173</c:v>
                </c:pt>
                <c:pt idx="257">
                  <c:v>4.5681916813220003</c:v>
                </c:pt>
                <c:pt idx="258">
                  <c:v>7.9984460162020001</c:v>
                </c:pt>
                <c:pt idx="259">
                  <c:v>13.773788480521</c:v>
                </c:pt>
                <c:pt idx="260">
                  <c:v>39.215233965006</c:v>
                </c:pt>
                <c:pt idx="261">
                  <c:v>26.704439903398999</c:v>
                </c:pt>
                <c:pt idx="262">
                  <c:v>30.43213633597</c:v>
                </c:pt>
                <c:pt idx="263">
                  <c:v>33.144331727411</c:v>
                </c:pt>
                <c:pt idx="264">
                  <c:v>14.231161499963999</c:v>
                </c:pt>
                <c:pt idx="265">
                  <c:v>15.434480629726</c:v>
                </c:pt>
                <c:pt idx="266">
                  <c:v>57.423136738844001</c:v>
                </c:pt>
                <c:pt idx="267">
                  <c:v>49.433325295393999</c:v>
                </c:pt>
                <c:pt idx="268">
                  <c:v>31.756500922158999</c:v>
                </c:pt>
                <c:pt idx="269">
                  <c:v>22.018617964745001</c:v>
                </c:pt>
                <c:pt idx="270">
                  <c:v>49.354078497661</c:v>
                </c:pt>
                <c:pt idx="271">
                  <c:v>30.892038503836002</c:v>
                </c:pt>
                <c:pt idx="272">
                  <c:v>29.698192122554001</c:v>
                </c:pt>
                <c:pt idx="273">
                  <c:v>90.944200127071994</c:v>
                </c:pt>
                <c:pt idx="274">
                  <c:v>79.092073216662001</c:v>
                </c:pt>
                <c:pt idx="275">
                  <c:v>59.570584805697997</c:v>
                </c:pt>
                <c:pt idx="276">
                  <c:v>74.376138083146998</c:v>
                </c:pt>
                <c:pt idx="277">
                  <c:v>92.462363911026998</c:v>
                </c:pt>
                <c:pt idx="278">
                  <c:v>39.173696168812</c:v>
                </c:pt>
                <c:pt idx="279">
                  <c:v>32.690421706439999</c:v>
                </c:pt>
                <c:pt idx="280">
                  <c:v>104.02538746164799</c:v>
                </c:pt>
                <c:pt idx="281">
                  <c:v>107.48122395902401</c:v>
                </c:pt>
                <c:pt idx="282">
                  <c:v>107.20411663807801</c:v>
                </c:pt>
                <c:pt idx="283">
                  <c:v>86.515714768501994</c:v>
                </c:pt>
                <c:pt idx="284">
                  <c:v>108.43009690082</c:v>
                </c:pt>
                <c:pt idx="285">
                  <c:v>81.120842556818005</c:v>
                </c:pt>
                <c:pt idx="286">
                  <c:v>37.166533601299001</c:v>
                </c:pt>
                <c:pt idx="287">
                  <c:v>115.028549254393</c:v>
                </c:pt>
                <c:pt idx="288">
                  <c:v>148.62799534485899</c:v>
                </c:pt>
                <c:pt idx="289">
                  <c:v>101.12643613584601</c:v>
                </c:pt>
                <c:pt idx="290">
                  <c:v>117.543760267376</c:v>
                </c:pt>
                <c:pt idx="291">
                  <c:v>149.22803191183999</c:v>
                </c:pt>
                <c:pt idx="292">
                  <c:v>82.014388489208002</c:v>
                </c:pt>
                <c:pt idx="293">
                  <c:v>66.270007059196004</c:v>
                </c:pt>
                <c:pt idx="294">
                  <c:v>152.42353419367899</c:v>
                </c:pt>
                <c:pt idx="295">
                  <c:v>143.60026375558601</c:v>
                </c:pt>
                <c:pt idx="296">
                  <c:v>137.478380415982</c:v>
                </c:pt>
                <c:pt idx="297">
                  <c:v>186.592228806854</c:v>
                </c:pt>
                <c:pt idx="298">
                  <c:v>109.37428792781201</c:v>
                </c:pt>
                <c:pt idx="299">
                  <c:v>83.806969692351998</c:v>
                </c:pt>
                <c:pt idx="300">
                  <c:v>68.736920891441002</c:v>
                </c:pt>
                <c:pt idx="301">
                  <c:v>154.187738990995</c:v>
                </c:pt>
                <c:pt idx="302">
                  <c:v>126.119112495134</c:v>
                </c:pt>
                <c:pt idx="303">
                  <c:v>125.720930963493</c:v>
                </c:pt>
                <c:pt idx="304">
                  <c:v>81.073347534416001</c:v>
                </c:pt>
                <c:pt idx="305">
                  <c:v>133.032657895163</c:v>
                </c:pt>
                <c:pt idx="306">
                  <c:v>74.907586835805006</c:v>
                </c:pt>
                <c:pt idx="307">
                  <c:v>60.391401570176001</c:v>
                </c:pt>
                <c:pt idx="308">
                  <c:v>154.89824503584001</c:v>
                </c:pt>
                <c:pt idx="309">
                  <c:v>129.78153441706399</c:v>
                </c:pt>
                <c:pt idx="310">
                  <c:v>109.363169849415</c:v>
                </c:pt>
                <c:pt idx="311">
                  <c:v>90.304992332593997</c:v>
                </c:pt>
                <c:pt idx="312">
                  <c:v>79.945775908513994</c:v>
                </c:pt>
                <c:pt idx="313">
                  <c:v>76.818324662172998</c:v>
                </c:pt>
                <c:pt idx="314">
                  <c:v>59.526935938511997</c:v>
                </c:pt>
                <c:pt idx="315">
                  <c:v>88.364201894527994</c:v>
                </c:pt>
                <c:pt idx="316">
                  <c:v>128.459026922871</c:v>
                </c:pt>
                <c:pt idx="317">
                  <c:v>59.507708953204997</c:v>
                </c:pt>
                <c:pt idx="318">
                  <c:v>71.202964964488999</c:v>
                </c:pt>
                <c:pt idx="319">
                  <c:v>78.033554428404003</c:v>
                </c:pt>
                <c:pt idx="320">
                  <c:v>52.228087519352002</c:v>
                </c:pt>
                <c:pt idx="321">
                  <c:v>35.551896413000001</c:v>
                </c:pt>
                <c:pt idx="322">
                  <c:v>85.048477632249998</c:v>
                </c:pt>
                <c:pt idx="323">
                  <c:v>82.082999274615005</c:v>
                </c:pt>
                <c:pt idx="324">
                  <c:v>38.480778850962999</c:v>
                </c:pt>
                <c:pt idx="325">
                  <c:v>83.064500550543002</c:v>
                </c:pt>
                <c:pt idx="326">
                  <c:v>23.183925811437</c:v>
                </c:pt>
                <c:pt idx="327">
                  <c:v>15.457443725242999</c:v>
                </c:pt>
                <c:pt idx="328">
                  <c:v>15.461327354952999</c:v>
                </c:pt>
                <c:pt idx="329">
                  <c:v>75.925709613362002</c:v>
                </c:pt>
                <c:pt idx="330">
                  <c:v>62.806673209027998</c:v>
                </c:pt>
                <c:pt idx="331">
                  <c:v>41.539739684296997</c:v>
                </c:pt>
                <c:pt idx="332">
                  <c:v>65.692558824700001</c:v>
                </c:pt>
                <c:pt idx="333">
                  <c:v>51.846534258593998</c:v>
                </c:pt>
                <c:pt idx="334">
                  <c:v>15.966151758272</c:v>
                </c:pt>
                <c:pt idx="335">
                  <c:v>22.001760140811001</c:v>
                </c:pt>
                <c:pt idx="336">
                  <c:v>96.862072444757999</c:v>
                </c:pt>
                <c:pt idx="337">
                  <c:v>85.679314565482997</c:v>
                </c:pt>
                <c:pt idx="338">
                  <c:v>72.239422084623001</c:v>
                </c:pt>
                <c:pt idx="339">
                  <c:v>58.574955022802001</c:v>
                </c:pt>
                <c:pt idx="340">
                  <c:v>72.714829547883994</c:v>
                </c:pt>
                <c:pt idx="341">
                  <c:v>38.690540162929999</c:v>
                </c:pt>
                <c:pt idx="342">
                  <c:v>17.242494126775</c:v>
                </c:pt>
                <c:pt idx="343">
                  <c:v>63.118946566546001</c:v>
                </c:pt>
                <c:pt idx="344">
                  <c:v>94.522113778245995</c:v>
                </c:pt>
                <c:pt idx="345">
                  <c:v>106.763940479103</c:v>
                </c:pt>
                <c:pt idx="346">
                  <c:v>78.711824764987995</c:v>
                </c:pt>
                <c:pt idx="347">
                  <c:v>82.404376588001</c:v>
                </c:pt>
                <c:pt idx="348">
                  <c:v>75.841147269717993</c:v>
                </c:pt>
                <c:pt idx="349">
                  <c:v>52.995391705068997</c:v>
                </c:pt>
                <c:pt idx="350">
                  <c:v>220.540440152288</c:v>
                </c:pt>
                <c:pt idx="351">
                  <c:v>233.81967826412199</c:v>
                </c:pt>
                <c:pt idx="352">
                  <c:v>247.44308808973901</c:v>
                </c:pt>
                <c:pt idx="353">
                  <c:v>282.75436011975398</c:v>
                </c:pt>
                <c:pt idx="354">
                  <c:v>187.36938192125601</c:v>
                </c:pt>
                <c:pt idx="355">
                  <c:v>149.27169856747301</c:v>
                </c:pt>
                <c:pt idx="356">
                  <c:v>161.60154365653599</c:v>
                </c:pt>
                <c:pt idx="357">
                  <c:v>311.05710814094698</c:v>
                </c:pt>
                <c:pt idx="358">
                  <c:v>278.71497726272497</c:v>
                </c:pt>
                <c:pt idx="359">
                  <c:v>356.975799502695</c:v>
                </c:pt>
                <c:pt idx="360">
                  <c:v>577.77667567634501</c:v>
                </c:pt>
                <c:pt idx="361">
                  <c:v>434.26964881893701</c:v>
                </c:pt>
                <c:pt idx="362">
                  <c:v>171.168223122813</c:v>
                </c:pt>
                <c:pt idx="363">
                  <c:v>216.87597720280399</c:v>
                </c:pt>
                <c:pt idx="364">
                  <c:v>387.75406761619899</c:v>
                </c:pt>
                <c:pt idx="365">
                  <c:v>531.57667166874296</c:v>
                </c:pt>
                <c:pt idx="366">
                  <c:v>362.54084967320199</c:v>
                </c:pt>
                <c:pt idx="367">
                  <c:v>381.85545873910797</c:v>
                </c:pt>
                <c:pt idx="368">
                  <c:v>332.43995464385102</c:v>
                </c:pt>
                <c:pt idx="369">
                  <c:v>190.854460578237</c:v>
                </c:pt>
                <c:pt idx="370">
                  <c:v>131.58913228578001</c:v>
                </c:pt>
                <c:pt idx="371">
                  <c:v>424.14524388351498</c:v>
                </c:pt>
                <c:pt idx="372">
                  <c:v>350.20363692962201</c:v>
                </c:pt>
                <c:pt idx="373">
                  <c:v>283.41870563457098</c:v>
                </c:pt>
                <c:pt idx="374">
                  <c:v>237.21390959803901</c:v>
                </c:pt>
                <c:pt idx="375">
                  <c:v>259.35240490411798</c:v>
                </c:pt>
                <c:pt idx="376">
                  <c:v>120.576671035386</c:v>
                </c:pt>
                <c:pt idx="377">
                  <c:v>125.878527221231</c:v>
                </c:pt>
                <c:pt idx="378">
                  <c:v>275.99621490905201</c:v>
                </c:pt>
                <c:pt idx="379">
                  <c:v>239.517805911615</c:v>
                </c:pt>
                <c:pt idx="380">
                  <c:v>174.027686222808</c:v>
                </c:pt>
                <c:pt idx="381">
                  <c:v>211.405316843718</c:v>
                </c:pt>
                <c:pt idx="382">
                  <c:v>143.20948365025001</c:v>
                </c:pt>
                <c:pt idx="383">
                  <c:v>82.252116002015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B55-4851-8113-CB904A1C35CF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85</c:f>
              <c:numCache>
                <c:formatCode>m/d/yyyy</c:formatCode>
                <c:ptCount val="3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</c:numCache>
            </c:numRef>
          </c:cat>
          <c:val>
            <c:numRef>
              <c:f>List1!$D$2:$D$385</c:f>
              <c:numCache>
                <c:formatCode>General</c:formatCode>
                <c:ptCount val="38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55.096418732781999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32.010243277847998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12.105072025178</c:v>
                </c:pt>
                <c:pt idx="264">
                  <c:v>0</c:v>
                </c:pt>
                <c:pt idx="265">
                  <c:v>0</c:v>
                </c:pt>
                <c:pt idx="266">
                  <c:v>21.92261317549</c:v>
                </c:pt>
                <c:pt idx="267">
                  <c:v>30.728259756221998</c:v>
                </c:pt>
                <c:pt idx="268">
                  <c:v>27.723870252287</c:v>
                </c:pt>
                <c:pt idx="269">
                  <c:v>0</c:v>
                </c:pt>
                <c:pt idx="270">
                  <c:v>25.797575027947001</c:v>
                </c:pt>
                <c:pt idx="271">
                  <c:v>17.035775127768002</c:v>
                </c:pt>
                <c:pt idx="272">
                  <c:v>8.4423807513709992</c:v>
                </c:pt>
                <c:pt idx="273">
                  <c:v>32.304958811177002</c:v>
                </c:pt>
                <c:pt idx="274">
                  <c:v>23.094688221708999</c:v>
                </c:pt>
                <c:pt idx="275">
                  <c:v>43.671300676904998</c:v>
                </c:pt>
                <c:pt idx="276">
                  <c:v>20.480611687602</c:v>
                </c:pt>
                <c:pt idx="277">
                  <c:v>31.575623618565999</c:v>
                </c:pt>
                <c:pt idx="278">
                  <c:v>24.945431867789001</c:v>
                </c:pt>
                <c:pt idx="279">
                  <c:v>6.1977068484659998</c:v>
                </c:pt>
                <c:pt idx="280">
                  <c:v>30.01200480192</c:v>
                </c:pt>
                <c:pt idx="281">
                  <c:v>46.419867703377001</c:v>
                </c:pt>
                <c:pt idx="282">
                  <c:v>22.265516281658002</c:v>
                </c:pt>
                <c:pt idx="283">
                  <c:v>16.122098022355001</c:v>
                </c:pt>
                <c:pt idx="284">
                  <c:v>45.643574399026001</c:v>
                </c:pt>
                <c:pt idx="285">
                  <c:v>30.244984373424</c:v>
                </c:pt>
                <c:pt idx="286">
                  <c:v>20.084354288008999</c:v>
                </c:pt>
                <c:pt idx="287">
                  <c:v>73.533016324328997</c:v>
                </c:pt>
                <c:pt idx="288">
                  <c:v>65.944418276023995</c:v>
                </c:pt>
                <c:pt idx="289">
                  <c:v>18.740629685157</c:v>
                </c:pt>
                <c:pt idx="290">
                  <c:v>41.052775623773996</c:v>
                </c:pt>
                <c:pt idx="291">
                  <c:v>78.822911192852999</c:v>
                </c:pt>
                <c:pt idx="292">
                  <c:v>17.375439815819998</c:v>
                </c:pt>
                <c:pt idx="293">
                  <c:v>17.314518223530001</c:v>
                </c:pt>
                <c:pt idx="294">
                  <c:v>55.035773252614</c:v>
                </c:pt>
                <c:pt idx="295">
                  <c:v>49.472295514511003</c:v>
                </c:pt>
                <c:pt idx="296">
                  <c:v>32.197045921036</c:v>
                </c:pt>
                <c:pt idx="297">
                  <c:v>54.910574207718</c:v>
                </c:pt>
                <c:pt idx="298">
                  <c:v>45.024763619989997</c:v>
                </c:pt>
                <c:pt idx="299">
                  <c:v>40.972920624277997</c:v>
                </c:pt>
                <c:pt idx="300">
                  <c:v>18.518518518518</c:v>
                </c:pt>
                <c:pt idx="301">
                  <c:v>47.094623967540002</c:v>
                </c:pt>
                <c:pt idx="302">
                  <c:v>31.883236502763001</c:v>
                </c:pt>
                <c:pt idx="303">
                  <c:v>55.538199868096001</c:v>
                </c:pt>
                <c:pt idx="304">
                  <c:v>54.180352849546999</c:v>
                </c:pt>
                <c:pt idx="305">
                  <c:v>58.454843633293002</c:v>
                </c:pt>
                <c:pt idx="306">
                  <c:v>25.791475917208999</c:v>
                </c:pt>
                <c:pt idx="307">
                  <c:v>25.677237129283998</c:v>
                </c:pt>
                <c:pt idx="308">
                  <c:v>72.479752938581001</c:v>
                </c:pt>
                <c:pt idx="309">
                  <c:v>43.327556325822997</c:v>
                </c:pt>
                <c:pt idx="310">
                  <c:v>24.262275194855999</c:v>
                </c:pt>
                <c:pt idx="311">
                  <c:v>41.525775642166003</c:v>
                </c:pt>
                <c:pt idx="312">
                  <c:v>14.343086632243001</c:v>
                </c:pt>
                <c:pt idx="313">
                  <c:v>19.933933249799999</c:v>
                </c:pt>
                <c:pt idx="314">
                  <c:v>8.5053300068039999</c:v>
                </c:pt>
                <c:pt idx="315">
                  <c:v>55.865921787708999</c:v>
                </c:pt>
                <c:pt idx="316">
                  <c:v>44.039525474112999</c:v>
                </c:pt>
                <c:pt idx="317">
                  <c:v>46.045503791982</c:v>
                </c:pt>
                <c:pt idx="318">
                  <c:v>15.958720110647</c:v>
                </c:pt>
                <c:pt idx="319">
                  <c:v>23.351149395463999</c:v>
                </c:pt>
                <c:pt idx="320">
                  <c:v>23.225806451612002</c:v>
                </c:pt>
                <c:pt idx="321">
                  <c:v>10.279341094235001</c:v>
                </c:pt>
                <c:pt idx="322">
                  <c:v>25.354969574036001</c:v>
                </c:pt>
                <c:pt idx="323">
                  <c:v>25.025025025024998</c:v>
                </c:pt>
                <c:pt idx="324">
                  <c:v>27.249981420467002</c:v>
                </c:pt>
                <c:pt idx="325">
                  <c:v>12.324377618930001</c:v>
                </c:pt>
                <c:pt idx="326">
                  <c:v>9.8590160701960006</c:v>
                </c:pt>
                <c:pt idx="327">
                  <c:v>0</c:v>
                </c:pt>
                <c:pt idx="328">
                  <c:v>4.9285362247410003</c:v>
                </c:pt>
                <c:pt idx="329">
                  <c:v>19.535065442469001</c:v>
                </c:pt>
                <c:pt idx="330">
                  <c:v>33.846674564224003</c:v>
                </c:pt>
                <c:pt idx="331">
                  <c:v>19.159840973319</c:v>
                </c:pt>
                <c:pt idx="332">
                  <c:v>16.639330623498999</c:v>
                </c:pt>
                <c:pt idx="333">
                  <c:v>33.213921377902999</c:v>
                </c:pt>
                <c:pt idx="334">
                  <c:v>4.7447333459849999</c:v>
                </c:pt>
                <c:pt idx="335">
                  <c:v>18.947468144569001</c:v>
                </c:pt>
                <c:pt idx="336">
                  <c:v>53.962742245788</c:v>
                </c:pt>
                <c:pt idx="337">
                  <c:v>62.620312173852</c:v>
                </c:pt>
                <c:pt idx="338">
                  <c:v>45.822164180813999</c:v>
                </c:pt>
                <c:pt idx="339">
                  <c:v>38.414606589233998</c:v>
                </c:pt>
                <c:pt idx="340">
                  <c:v>48.610190463564003</c:v>
                </c:pt>
                <c:pt idx="341">
                  <c:v>24.200822827976001</c:v>
                </c:pt>
                <c:pt idx="342">
                  <c:v>37.331459440467</c:v>
                </c:pt>
                <c:pt idx="343">
                  <c:v>63.112078346027999</c:v>
                </c:pt>
                <c:pt idx="344">
                  <c:v>77.648124582102</c:v>
                </c:pt>
                <c:pt idx="345">
                  <c:v>81.101269875146002</c:v>
                </c:pt>
                <c:pt idx="346">
                  <c:v>50.731377356895003</c:v>
                </c:pt>
                <c:pt idx="347">
                  <c:v>74.926634337210999</c:v>
                </c:pt>
                <c:pt idx="348">
                  <c:v>41.510138851413998</c:v>
                </c:pt>
                <c:pt idx="349">
                  <c:v>47.665430128696002</c:v>
                </c:pt>
                <c:pt idx="350">
                  <c:v>152.46415032140999</c:v>
                </c:pt>
                <c:pt idx="351">
                  <c:v>168.019014834849</c:v>
                </c:pt>
                <c:pt idx="352">
                  <c:v>246.445883742718</c:v>
                </c:pt>
                <c:pt idx="353">
                  <c:v>208.48092298350301</c:v>
                </c:pt>
                <c:pt idx="354">
                  <c:v>250.89317971980199</c:v>
                </c:pt>
                <c:pt idx="355">
                  <c:v>132.32817387119999</c:v>
                </c:pt>
                <c:pt idx="356">
                  <c:v>124.223602484472</c:v>
                </c:pt>
                <c:pt idx="357">
                  <c:v>312.873654842566</c:v>
                </c:pt>
                <c:pt idx="358">
                  <c:v>299.67452568071701</c:v>
                </c:pt>
                <c:pt idx="359">
                  <c:v>345.64487458028799</c:v>
                </c:pt>
                <c:pt idx="360">
                  <c:v>412.719625800872</c:v>
                </c:pt>
                <c:pt idx="361">
                  <c:v>409.101535104807</c:v>
                </c:pt>
                <c:pt idx="362">
                  <c:v>192.60325674597701</c:v>
                </c:pt>
                <c:pt idx="363">
                  <c:v>215.81055333048101</c:v>
                </c:pt>
                <c:pt idx="364">
                  <c:v>441.94611358790399</c:v>
                </c:pt>
                <c:pt idx="365">
                  <c:v>498.791686805219</c:v>
                </c:pt>
                <c:pt idx="366">
                  <c:v>402.94593969306698</c:v>
                </c:pt>
                <c:pt idx="367">
                  <c:v>348.00999807729198</c:v>
                </c:pt>
                <c:pt idx="368">
                  <c:v>304.48104174645698</c:v>
                </c:pt>
                <c:pt idx="369">
                  <c:v>243.08546272370501</c:v>
                </c:pt>
                <c:pt idx="370">
                  <c:v>137.785857812649</c:v>
                </c:pt>
                <c:pt idx="371">
                  <c:v>542.59567069792297</c:v>
                </c:pt>
                <c:pt idx="372">
                  <c:v>398.45954396400498</c:v>
                </c:pt>
                <c:pt idx="373">
                  <c:v>354.04294198264</c:v>
                </c:pt>
                <c:pt idx="374">
                  <c:v>288.82512778611698</c:v>
                </c:pt>
                <c:pt idx="375">
                  <c:v>240.48020298801299</c:v>
                </c:pt>
                <c:pt idx="376">
                  <c:v>149.54474037897199</c:v>
                </c:pt>
                <c:pt idx="377">
                  <c:v>113.550340651021</c:v>
                </c:pt>
                <c:pt idx="378">
                  <c:v>302.33173349457599</c:v>
                </c:pt>
                <c:pt idx="379">
                  <c:v>317.17862065059302</c:v>
                </c:pt>
                <c:pt idx="380">
                  <c:v>199.89062588395001</c:v>
                </c:pt>
                <c:pt idx="381">
                  <c:v>186.419613602982</c:v>
                </c:pt>
                <c:pt idx="382">
                  <c:v>165.30478068939601</c:v>
                </c:pt>
                <c:pt idx="383">
                  <c:v>105.168269230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B55-4851-8113-CB904A1C35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05263600732"/>
          <c:y val="0.15289779551144775"/>
          <c:w val="0.79684300815915377"/>
          <c:h val="0.804165359407443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B$2:$B$12</c:f>
              <c:numCache>
                <c:formatCode>General</c:formatCode>
                <c:ptCount val="11"/>
                <c:pt idx="0">
                  <c:v>74.296750000000003</c:v>
                </c:pt>
                <c:pt idx="1">
                  <c:v>60.629080000000002</c:v>
                </c:pt>
                <c:pt idx="2">
                  <c:v>55.542940000000002</c:v>
                </c:pt>
                <c:pt idx="3">
                  <c:v>55.19849</c:v>
                </c:pt>
                <c:pt idx="4">
                  <c:v>53.422490000000003</c:v>
                </c:pt>
                <c:pt idx="5">
                  <c:v>56.021810000000002</c:v>
                </c:pt>
                <c:pt idx="6">
                  <c:v>66.138270000000006</c:v>
                </c:pt>
                <c:pt idx="7">
                  <c:v>50.317309999999999</c:v>
                </c:pt>
                <c:pt idx="8">
                  <c:v>56.792810000000003</c:v>
                </c:pt>
                <c:pt idx="9">
                  <c:v>55.766599999999997</c:v>
                </c:pt>
                <c:pt idx="10">
                  <c:v>61.60607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DA-4934-90AD-68162997E19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C$2:$C$12</c:f>
              <c:numCache>
                <c:formatCode>General</c:formatCode>
                <c:ptCount val="11"/>
                <c:pt idx="0">
                  <c:v>13.29815</c:v>
                </c:pt>
                <c:pt idx="1">
                  <c:v>22.541219999999999</c:v>
                </c:pt>
                <c:pt idx="2">
                  <c:v>24.953779999999998</c:v>
                </c:pt>
                <c:pt idx="3">
                  <c:v>23.923549999999999</c:v>
                </c:pt>
                <c:pt idx="4">
                  <c:v>26.112970000000001</c:v>
                </c:pt>
                <c:pt idx="5">
                  <c:v>25.591740000000001</c:v>
                </c:pt>
                <c:pt idx="6">
                  <c:v>20.145309999999998</c:v>
                </c:pt>
                <c:pt idx="7">
                  <c:v>25.438310000000001</c:v>
                </c:pt>
                <c:pt idx="8">
                  <c:v>25.149740000000001</c:v>
                </c:pt>
                <c:pt idx="9">
                  <c:v>25.09309</c:v>
                </c:pt>
                <c:pt idx="10">
                  <c:v>21.500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DA-4934-90AD-68162997E19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D$2:$D$12</c:f>
              <c:numCache>
                <c:formatCode>General</c:formatCode>
                <c:ptCount val="11"/>
                <c:pt idx="0">
                  <c:v>0.37672349999999999</c:v>
                </c:pt>
                <c:pt idx="1">
                  <c:v>0.62300560000000005</c:v>
                </c:pt>
                <c:pt idx="2">
                  <c:v>0.61197789999999996</c:v>
                </c:pt>
                <c:pt idx="3">
                  <c:v>0.65112369999999997</c:v>
                </c:pt>
                <c:pt idx="4">
                  <c:v>1.0029914</c:v>
                </c:pt>
                <c:pt idx="5">
                  <c:v>0.61881189999999997</c:v>
                </c:pt>
                <c:pt idx="6">
                  <c:v>0.55041830000000003</c:v>
                </c:pt>
                <c:pt idx="7">
                  <c:v>0.61310100000000001</c:v>
                </c:pt>
                <c:pt idx="8">
                  <c:v>0.57854609999999995</c:v>
                </c:pt>
                <c:pt idx="9">
                  <c:v>0.53730500000000003</c:v>
                </c:pt>
                <c:pt idx="10">
                  <c:v>0.5674274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DA-4934-90AD-68162997E19E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E$2:$E$12</c:f>
              <c:numCache>
                <c:formatCode>General</c:formatCode>
                <c:ptCount val="11"/>
                <c:pt idx="0">
                  <c:v>3.2164920000000001</c:v>
                </c:pt>
                <c:pt idx="1">
                  <c:v>9.2975989999999999</c:v>
                </c:pt>
                <c:pt idx="2">
                  <c:v>9.9484250000000003</c:v>
                </c:pt>
                <c:pt idx="3">
                  <c:v>9.5078060000000004</c:v>
                </c:pt>
                <c:pt idx="4">
                  <c:v>11.332039999999999</c:v>
                </c:pt>
                <c:pt idx="5">
                  <c:v>9.858447</c:v>
                </c:pt>
                <c:pt idx="6">
                  <c:v>7.1114050000000004</c:v>
                </c:pt>
                <c:pt idx="7">
                  <c:v>12.003869999999999</c:v>
                </c:pt>
                <c:pt idx="8">
                  <c:v>9.9237680000000008</c:v>
                </c:pt>
                <c:pt idx="9">
                  <c:v>9.3651319999999991</c:v>
                </c:pt>
                <c:pt idx="10">
                  <c:v>8.26668699999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DA-4934-90AD-68162997E19E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Ostatn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ékaři</c:v>
                </c:pt>
                <c:pt idx="1">
                  <c:v>Sestry</c:v>
                </c:pt>
                <c:pt idx="2">
                  <c:v>Ostatní ZP</c:v>
                </c:pt>
                <c:pt idx="3">
                  <c:v>   farmaceuti</c:v>
                </c:pt>
                <c:pt idx="4">
                  <c:v>   § 36 Ošetřovatel</c:v>
                </c:pt>
                <c:pt idx="5">
                  <c:v>   § 42 Sanitář</c:v>
                </c:pt>
                <c:pt idx="6">
                  <c:v>   § 18 Zdravotnický záchranář</c:v>
                </c:pt>
                <c:pt idx="7">
                  <c:v>   § 24 Fyzioterapeut</c:v>
                </c:pt>
                <c:pt idx="8">
                  <c:v>   laboratorní pracovníci</c:v>
                </c:pt>
                <c:pt idx="9">
                  <c:v>   ostatní NLZP</c:v>
                </c:pt>
                <c:pt idx="10">
                  <c:v>CELKEM</c:v>
                </c:pt>
              </c:strCache>
            </c:strRef>
          </c:cat>
          <c:val>
            <c:numRef>
              <c:f>List1!$F$2:$F$12</c:f>
              <c:numCache>
                <c:formatCode>General</c:formatCode>
                <c:ptCount val="11"/>
                <c:pt idx="0">
                  <c:v>8.8118870000000005</c:v>
                </c:pt>
                <c:pt idx="1">
                  <c:v>6.9090939999999996</c:v>
                </c:pt>
                <c:pt idx="2">
                  <c:v>8.9428780000000003</c:v>
                </c:pt>
                <c:pt idx="3">
                  <c:v>10.71904</c:v>
                </c:pt>
                <c:pt idx="4">
                  <c:v>8.1295090000000005</c:v>
                </c:pt>
                <c:pt idx="5">
                  <c:v>7.9091889999999996</c:v>
                </c:pt>
                <c:pt idx="6">
                  <c:v>6.0546009999999999</c:v>
                </c:pt>
                <c:pt idx="7">
                  <c:v>11.627409999999999</c:v>
                </c:pt>
                <c:pt idx="8">
                  <c:v>7.5551320000000004</c:v>
                </c:pt>
                <c:pt idx="9">
                  <c:v>9.2378750000000007</c:v>
                </c:pt>
                <c:pt idx="10">
                  <c:v>8.05915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DA-4934-90AD-68162997E1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8428679273505E-2"/>
          <c:y val="5.0081916086988656E-2"/>
          <c:w val="0.98087724341670113"/>
          <c:h val="4.2435842974244235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0623174724366597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85</c:f>
              <c:numCache>
                <c:formatCode>m/d/yyyy</c:formatCode>
                <c:ptCount val="3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</c:numCache>
            </c:numRef>
          </c:cat>
          <c:val>
            <c:numRef>
              <c:f>List1!$B$2:$B$385</c:f>
              <c:numCache>
                <c:formatCode>General</c:formatCode>
                <c:ptCount val="384"/>
                <c:pt idx="0">
                  <c:v>18.539423053154</c:v>
                </c:pt>
                <c:pt idx="1">
                  <c:v>26.587458197453</c:v>
                </c:pt>
                <c:pt idx="2">
                  <c:v>22.196442705955</c:v>
                </c:pt>
                <c:pt idx="3">
                  <c:v>22.320394523501001</c:v>
                </c:pt>
                <c:pt idx="4">
                  <c:v>19.436345966958001</c:v>
                </c:pt>
                <c:pt idx="5">
                  <c:v>11.021666051996</c:v>
                </c:pt>
                <c:pt idx="6">
                  <c:v>5.1031039629850001</c:v>
                </c:pt>
                <c:pt idx="7">
                  <c:v>23.646557061290999</c:v>
                </c:pt>
                <c:pt idx="8">
                  <c:v>30.986099897439999</c:v>
                </c:pt>
                <c:pt idx="9">
                  <c:v>27.524483471991001</c:v>
                </c:pt>
                <c:pt idx="10">
                  <c:v>22.658986780747</c:v>
                </c:pt>
                <c:pt idx="11">
                  <c:v>26.966083176418</c:v>
                </c:pt>
                <c:pt idx="12">
                  <c:v>11.190637166903</c:v>
                </c:pt>
                <c:pt idx="13">
                  <c:v>7.9487910823909997</c:v>
                </c:pt>
                <c:pt idx="14">
                  <c:v>31.607530254632</c:v>
                </c:pt>
                <c:pt idx="15">
                  <c:v>32.567985670086003</c:v>
                </c:pt>
                <c:pt idx="16">
                  <c:v>32.498692435420999</c:v>
                </c:pt>
                <c:pt idx="17">
                  <c:v>28.831435700656002</c:v>
                </c:pt>
                <c:pt idx="18">
                  <c:v>31.222579308042999</c:v>
                </c:pt>
                <c:pt idx="19">
                  <c:v>16.214813853936</c:v>
                </c:pt>
                <c:pt idx="20">
                  <c:v>7.5931379727400001</c:v>
                </c:pt>
                <c:pt idx="21">
                  <c:v>40.004667211174002</c:v>
                </c:pt>
                <c:pt idx="22">
                  <c:v>46.507670929869001</c:v>
                </c:pt>
                <c:pt idx="23">
                  <c:v>37.592680415948003</c:v>
                </c:pt>
                <c:pt idx="24">
                  <c:v>48.312309622987001</c:v>
                </c:pt>
                <c:pt idx="25">
                  <c:v>58.148945226091001</c:v>
                </c:pt>
                <c:pt idx="26">
                  <c:v>20.428149990687</c:v>
                </c:pt>
                <c:pt idx="27">
                  <c:v>10.22089150223</c:v>
                </c:pt>
                <c:pt idx="28">
                  <c:v>62.075890819462003</c:v>
                </c:pt>
                <c:pt idx="29">
                  <c:v>62.066761712796001</c:v>
                </c:pt>
                <c:pt idx="30">
                  <c:v>53.882981029474003</c:v>
                </c:pt>
                <c:pt idx="31">
                  <c:v>44.363909022743997</c:v>
                </c:pt>
                <c:pt idx="32">
                  <c:v>51.013660324598</c:v>
                </c:pt>
                <c:pt idx="33">
                  <c:v>22.052244918532001</c:v>
                </c:pt>
                <c:pt idx="34">
                  <c:v>10.715681454306999</c:v>
                </c:pt>
                <c:pt idx="35">
                  <c:v>50.076064908722003</c:v>
                </c:pt>
                <c:pt idx="36">
                  <c:v>53.604247498467998</c:v>
                </c:pt>
                <c:pt idx="37">
                  <c:v>48.112081906008001</c:v>
                </c:pt>
                <c:pt idx="38">
                  <c:v>45.797292154471997</c:v>
                </c:pt>
                <c:pt idx="39">
                  <c:v>53.237073778792997</c:v>
                </c:pt>
                <c:pt idx="40">
                  <c:v>20.777736655173001</c:v>
                </c:pt>
                <c:pt idx="41">
                  <c:v>7.7925619995710003</c:v>
                </c:pt>
                <c:pt idx="42">
                  <c:v>37.143713589386003</c:v>
                </c:pt>
                <c:pt idx="43">
                  <c:v>51.679924638894001</c:v>
                </c:pt>
                <c:pt idx="44">
                  <c:v>33.508981721178003</c:v>
                </c:pt>
                <c:pt idx="45">
                  <c:v>35.617938249048002</c:v>
                </c:pt>
                <c:pt idx="46">
                  <c:v>29.854707092150999</c:v>
                </c:pt>
                <c:pt idx="47">
                  <c:v>11.942041292924999</c:v>
                </c:pt>
                <c:pt idx="48">
                  <c:v>5.9715356799250001</c:v>
                </c:pt>
                <c:pt idx="49">
                  <c:v>45.359036787511997</c:v>
                </c:pt>
                <c:pt idx="50">
                  <c:v>32.176973353443003</c:v>
                </c:pt>
                <c:pt idx="51">
                  <c:v>24.942362918120999</c:v>
                </c:pt>
                <c:pt idx="52">
                  <c:v>27.872006308589999</c:v>
                </c:pt>
                <c:pt idx="53">
                  <c:v>23.335140662855</c:v>
                </c:pt>
                <c:pt idx="54">
                  <c:v>10.992710458875999</c:v>
                </c:pt>
                <c:pt idx="55">
                  <c:v>6.1920782678690003</c:v>
                </c:pt>
                <c:pt idx="56">
                  <c:v>31.253038489853001</c:v>
                </c:pt>
                <c:pt idx="57">
                  <c:v>32.952625342672</c:v>
                </c:pt>
                <c:pt idx="58">
                  <c:v>24.102705883186001</c:v>
                </c:pt>
                <c:pt idx="59">
                  <c:v>20.794343938448002</c:v>
                </c:pt>
                <c:pt idx="60">
                  <c:v>16.744443392861001</c:v>
                </c:pt>
                <c:pt idx="61">
                  <c:v>10.206238928053001</c:v>
                </c:pt>
                <c:pt idx="62">
                  <c:v>14.592575297688001</c:v>
                </c:pt>
                <c:pt idx="63">
                  <c:v>9.5953706027360006</c:v>
                </c:pt>
                <c:pt idx="64">
                  <c:v>27.637928201144</c:v>
                </c:pt>
                <c:pt idx="65">
                  <c:v>31.029576484121002</c:v>
                </c:pt>
                <c:pt idx="66">
                  <c:v>24.561161128892</c:v>
                </c:pt>
                <c:pt idx="67">
                  <c:v>24.997070655782</c:v>
                </c:pt>
                <c:pt idx="68">
                  <c:v>7.8308535630379996</c:v>
                </c:pt>
                <c:pt idx="69">
                  <c:v>3.9198776998149998</c:v>
                </c:pt>
                <c:pt idx="70">
                  <c:v>12.707691330176999</c:v>
                </c:pt>
                <c:pt idx="71">
                  <c:v>18.518667622121999</c:v>
                </c:pt>
                <c:pt idx="72">
                  <c:v>22.062067951168999</c:v>
                </c:pt>
                <c:pt idx="73">
                  <c:v>16.641981061425</c:v>
                </c:pt>
                <c:pt idx="74">
                  <c:v>15.902376149783001</c:v>
                </c:pt>
                <c:pt idx="75">
                  <c:v>3.3603561977559999</c:v>
                </c:pt>
                <c:pt idx="76">
                  <c:v>3.369073588989</c:v>
                </c:pt>
                <c:pt idx="77">
                  <c:v>21.100251514998</c:v>
                </c:pt>
                <c:pt idx="78">
                  <c:v>18.905378580206001</c:v>
                </c:pt>
                <c:pt idx="79">
                  <c:v>19.155753691836001</c:v>
                </c:pt>
                <c:pt idx="80">
                  <c:v>13.264358668258</c:v>
                </c:pt>
                <c:pt idx="81">
                  <c:v>11.696222120254999</c:v>
                </c:pt>
                <c:pt idx="82">
                  <c:v>4.5266893604689997</c:v>
                </c:pt>
                <c:pt idx="83">
                  <c:v>0.90799306293199999</c:v>
                </c:pt>
                <c:pt idx="84">
                  <c:v>11.920481220657001</c:v>
                </c:pt>
                <c:pt idx="85">
                  <c:v>13.911043513744</c:v>
                </c:pt>
                <c:pt idx="86">
                  <c:v>7.5078597907180002</c:v>
                </c:pt>
                <c:pt idx="87">
                  <c:v>16.12979742872</c:v>
                </c:pt>
                <c:pt idx="88">
                  <c:v>11.538239649236999</c:v>
                </c:pt>
                <c:pt idx="89">
                  <c:v>3.8540100975059999</c:v>
                </c:pt>
                <c:pt idx="90">
                  <c:v>4.8281655867659996</c:v>
                </c:pt>
                <c:pt idx="91">
                  <c:v>11.668838367139999</c:v>
                </c:pt>
                <c:pt idx="92">
                  <c:v>11.746625292441999</c:v>
                </c:pt>
                <c:pt idx="93">
                  <c:v>7.8765740841019998</c:v>
                </c:pt>
                <c:pt idx="94">
                  <c:v>4.954615720004</c:v>
                </c:pt>
                <c:pt idx="95">
                  <c:v>16.943409013893</c:v>
                </c:pt>
                <c:pt idx="96">
                  <c:v>7.986423080762</c:v>
                </c:pt>
                <c:pt idx="97">
                  <c:v>1.9998400127980001</c:v>
                </c:pt>
                <c:pt idx="98">
                  <c:v>9.0271717870790003</c:v>
                </c:pt>
                <c:pt idx="99">
                  <c:v>16.113276332618</c:v>
                </c:pt>
                <c:pt idx="100">
                  <c:v>5.0613434830140003</c:v>
                </c:pt>
                <c:pt idx="101">
                  <c:v>8.1337183293340001</c:v>
                </c:pt>
                <c:pt idx="102">
                  <c:v>6.1268878473169996</c:v>
                </c:pt>
                <c:pt idx="103">
                  <c:v>4.0874301304909997</c:v>
                </c:pt>
                <c:pt idx="104">
                  <c:v>1.0225994477960001</c:v>
                </c:pt>
                <c:pt idx="105">
                  <c:v>3.07509379036</c:v>
                </c:pt>
                <c:pt idx="106">
                  <c:v>7.1902541241240003</c:v>
                </c:pt>
                <c:pt idx="107">
                  <c:v>3.0897256323629998</c:v>
                </c:pt>
                <c:pt idx="108">
                  <c:v>4.1325729399120004</c:v>
                </c:pt>
                <c:pt idx="109">
                  <c:v>4.1488611376169997</c:v>
                </c:pt>
                <c:pt idx="110">
                  <c:v>1.037667323855</c:v>
                </c:pt>
                <c:pt idx="111">
                  <c:v>1.038820730706</c:v>
                </c:pt>
                <c:pt idx="112">
                  <c:v>1.041081058571</c:v>
                </c:pt>
                <c:pt idx="113">
                  <c:v>3.1297271921130001</c:v>
                </c:pt>
                <c:pt idx="114">
                  <c:v>7.3284616512070002</c:v>
                </c:pt>
                <c:pt idx="115">
                  <c:v>2.1011934778949999</c:v>
                </c:pt>
                <c:pt idx="116">
                  <c:v>3.1630888617089998</c:v>
                </c:pt>
                <c:pt idx="117">
                  <c:v>0</c:v>
                </c:pt>
                <c:pt idx="118">
                  <c:v>1.060265490478</c:v>
                </c:pt>
                <c:pt idx="119">
                  <c:v>4.2574025586979998</c:v>
                </c:pt>
                <c:pt idx="120">
                  <c:v>2.1450711627349999</c:v>
                </c:pt>
                <c:pt idx="121">
                  <c:v>0</c:v>
                </c:pt>
                <c:pt idx="122">
                  <c:v>4.3613367497129998</c:v>
                </c:pt>
                <c:pt idx="123">
                  <c:v>0</c:v>
                </c:pt>
                <c:pt idx="124">
                  <c:v>0</c:v>
                </c:pt>
                <c:pt idx="125">
                  <c:v>1.1035822279109999</c:v>
                </c:pt>
                <c:pt idx="126">
                  <c:v>0</c:v>
                </c:pt>
                <c:pt idx="127">
                  <c:v>1.119632760454</c:v>
                </c:pt>
                <c:pt idx="128">
                  <c:v>1.127395715896</c:v>
                </c:pt>
                <c:pt idx="129">
                  <c:v>1.1378376533229999</c:v>
                </c:pt>
                <c:pt idx="131">
                  <c:v>1.153708596282</c:v>
                </c:pt>
                <c:pt idx="132">
                  <c:v>1.156911970568</c:v>
                </c:pt>
                <c:pt idx="133">
                  <c:v>1.164117249889</c:v>
                </c:pt>
                <c:pt idx="135">
                  <c:v>0</c:v>
                </c:pt>
                <c:pt idx="136">
                  <c:v>2.3781212841850001</c:v>
                </c:pt>
                <c:pt idx="137">
                  <c:v>0</c:v>
                </c:pt>
                <c:pt idx="138">
                  <c:v>0</c:v>
                </c:pt>
                <c:pt idx="139">
                  <c:v>1.205254911413</c:v>
                </c:pt>
                <c:pt idx="141">
                  <c:v>1.2192148256519999</c:v>
                </c:pt>
                <c:pt idx="142">
                  <c:v>2.4537167674729998</c:v>
                </c:pt>
                <c:pt idx="143">
                  <c:v>2.4707219449519999</c:v>
                </c:pt>
                <c:pt idx="145">
                  <c:v>1.249968750781</c:v>
                </c:pt>
                <c:pt idx="146">
                  <c:v>1.251924834432</c:v>
                </c:pt>
                <c:pt idx="147">
                  <c:v>0</c:v>
                </c:pt>
                <c:pt idx="148">
                  <c:v>3.8018958787439998</c:v>
                </c:pt>
                <c:pt idx="150">
                  <c:v>1.2851983703680001</c:v>
                </c:pt>
                <c:pt idx="151">
                  <c:v>1.2950348364369999</c:v>
                </c:pt>
                <c:pt idx="153">
                  <c:v>1.3008976193570001</c:v>
                </c:pt>
                <c:pt idx="154">
                  <c:v>0</c:v>
                </c:pt>
                <c:pt idx="155">
                  <c:v>1.3170718857829999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1.349418400669</c:v>
                </c:pt>
                <c:pt idx="160">
                  <c:v>0</c:v>
                </c:pt>
                <c:pt idx="161">
                  <c:v>2.719978240174</c:v>
                </c:pt>
                <c:pt idx="162">
                  <c:v>4.108238387379</c:v>
                </c:pt>
                <c:pt idx="163">
                  <c:v>1.379576745854</c:v>
                </c:pt>
                <c:pt idx="164">
                  <c:v>4.1719975524280004</c:v>
                </c:pt>
                <c:pt idx="165">
                  <c:v>2.8024942198549998</c:v>
                </c:pt>
                <c:pt idx="166">
                  <c:v>1.404277429048</c:v>
                </c:pt>
                <c:pt idx="167">
                  <c:v>2.8123461998170001</c:v>
                </c:pt>
                <c:pt idx="168">
                  <c:v>2.8159495381839998</c:v>
                </c:pt>
                <c:pt idx="169">
                  <c:v>2.820277797363</c:v>
                </c:pt>
                <c:pt idx="170">
                  <c:v>5.6785110943910002</c:v>
                </c:pt>
                <c:pt idx="171">
                  <c:v>2.8562451800859998</c:v>
                </c:pt>
                <c:pt idx="172">
                  <c:v>1.437235907901</c:v>
                </c:pt>
                <c:pt idx="173">
                  <c:v>0</c:v>
                </c:pt>
                <c:pt idx="174">
                  <c:v>1.442918157682</c:v>
                </c:pt>
                <c:pt idx="175">
                  <c:v>4.3540732355109997</c:v>
                </c:pt>
                <c:pt idx="176">
                  <c:v>1.4593001196619999</c:v>
                </c:pt>
                <c:pt idx="177">
                  <c:v>0</c:v>
                </c:pt>
                <c:pt idx="178">
                  <c:v>5.9148848076179998</c:v>
                </c:pt>
                <c:pt idx="179">
                  <c:v>2.977652716363</c:v>
                </c:pt>
                <c:pt idx="180">
                  <c:v>1.491669028475</c:v>
                </c:pt>
                <c:pt idx="181">
                  <c:v>0</c:v>
                </c:pt>
                <c:pt idx="182">
                  <c:v>0</c:v>
                </c:pt>
                <c:pt idx="183">
                  <c:v>3.0329683661389999</c:v>
                </c:pt>
                <c:pt idx="184">
                  <c:v>7.6365024818630003</c:v>
                </c:pt>
                <c:pt idx="185">
                  <c:v>0</c:v>
                </c:pt>
                <c:pt idx="186">
                  <c:v>4.6444661186190004</c:v>
                </c:pt>
                <c:pt idx="187">
                  <c:v>1.5529397148799999</c:v>
                </c:pt>
                <c:pt idx="188">
                  <c:v>0</c:v>
                </c:pt>
                <c:pt idx="189">
                  <c:v>12.5134911076</c:v>
                </c:pt>
                <c:pt idx="190">
                  <c:v>1.5735888841679999</c:v>
                </c:pt>
                <c:pt idx="191">
                  <c:v>4.75029293473</c:v>
                </c:pt>
                <c:pt idx="192">
                  <c:v>3.1834967528329998</c:v>
                </c:pt>
                <c:pt idx="193">
                  <c:v>9.6029192874629992</c:v>
                </c:pt>
                <c:pt idx="194">
                  <c:v>4.8119335953159998</c:v>
                </c:pt>
                <c:pt idx="195">
                  <c:v>1.6069678124340001</c:v>
                </c:pt>
                <c:pt idx="196">
                  <c:v>4.8424586776850003</c:v>
                </c:pt>
                <c:pt idx="197">
                  <c:v>3.2443305323940002</c:v>
                </c:pt>
                <c:pt idx="198">
                  <c:v>4.8926072704139996</c:v>
                </c:pt>
                <c:pt idx="199">
                  <c:v>0</c:v>
                </c:pt>
                <c:pt idx="200">
                  <c:v>3.297989875171</c:v>
                </c:pt>
                <c:pt idx="201">
                  <c:v>0</c:v>
                </c:pt>
                <c:pt idx="202">
                  <c:v>0</c:v>
                </c:pt>
                <c:pt idx="203">
                  <c:v>3.3329444898089999</c:v>
                </c:pt>
                <c:pt idx="204">
                  <c:v>3.3502521064709998</c:v>
                </c:pt>
                <c:pt idx="205">
                  <c:v>3.3710327158719999</c:v>
                </c:pt>
                <c:pt idx="206">
                  <c:v>5.0837117874329998</c:v>
                </c:pt>
                <c:pt idx="207">
                  <c:v>1.705349681952</c:v>
                </c:pt>
                <c:pt idx="208">
                  <c:v>0</c:v>
                </c:pt>
                <c:pt idx="209">
                  <c:v>3.4210256234809999</c:v>
                </c:pt>
                <c:pt idx="210">
                  <c:v>0</c:v>
                </c:pt>
                <c:pt idx="211">
                  <c:v>1.727921483247</c:v>
                </c:pt>
                <c:pt idx="212">
                  <c:v>3.4742126565559999</c:v>
                </c:pt>
                <c:pt idx="213">
                  <c:v>13.969163072517</c:v>
                </c:pt>
                <c:pt idx="214">
                  <c:v>7.0314834672239996</c:v>
                </c:pt>
                <c:pt idx="215">
                  <c:v>10.559476249977999</c:v>
                </c:pt>
                <c:pt idx="216">
                  <c:v>1.761493746697</c:v>
                </c:pt>
                <c:pt idx="217">
                  <c:v>7.081275337688</c:v>
                </c:pt>
                <c:pt idx="218">
                  <c:v>8.8920505068459992</c:v>
                </c:pt>
                <c:pt idx="219">
                  <c:v>1.7858418458459999</c:v>
                </c:pt>
                <c:pt idx="220">
                  <c:v>5.3784646276299997</c:v>
                </c:pt>
                <c:pt idx="221">
                  <c:v>1.80043930719</c:v>
                </c:pt>
                <c:pt idx="222">
                  <c:v>1.801671951571</c:v>
                </c:pt>
                <c:pt idx="223">
                  <c:v>3.6056825557069998</c:v>
                </c:pt>
                <c:pt idx="224">
                  <c:v>3.614610254649</c:v>
                </c:pt>
                <c:pt idx="225">
                  <c:v>7.2490032620509997</c:v>
                </c:pt>
                <c:pt idx="226">
                  <c:v>5.4474142940150001</c:v>
                </c:pt>
                <c:pt idx="227">
                  <c:v>10.919017288444</c:v>
                </c:pt>
                <c:pt idx="228">
                  <c:v>12.767897856816999</c:v>
                </c:pt>
                <c:pt idx="229">
                  <c:v>3.6486363221740001</c:v>
                </c:pt>
                <c:pt idx="230">
                  <c:v>9.1207588471360008</c:v>
                </c:pt>
                <c:pt idx="231">
                  <c:v>16.450374702979001</c:v>
                </c:pt>
                <c:pt idx="232">
                  <c:v>14.644236577640999</c:v>
                </c:pt>
                <c:pt idx="233">
                  <c:v>14.666251122884001</c:v>
                </c:pt>
                <c:pt idx="234">
                  <c:v>9.1803760282019997</c:v>
                </c:pt>
                <c:pt idx="235">
                  <c:v>11.03935530165</c:v>
                </c:pt>
                <c:pt idx="236">
                  <c:v>11.039152193111001</c:v>
                </c:pt>
                <c:pt idx="237">
                  <c:v>9.198616528074</c:v>
                </c:pt>
                <c:pt idx="238">
                  <c:v>7.3674322656689997</c:v>
                </c:pt>
                <c:pt idx="239">
                  <c:v>12.912984928701</c:v>
                </c:pt>
                <c:pt idx="240">
                  <c:v>22.166395744052</c:v>
                </c:pt>
                <c:pt idx="241">
                  <c:v>35.151335750758001</c:v>
                </c:pt>
                <c:pt idx="242">
                  <c:v>31.517668434128002</c:v>
                </c:pt>
                <c:pt idx="243">
                  <c:v>12.982918189068</c:v>
                </c:pt>
                <c:pt idx="244">
                  <c:v>11.131931946789001</c:v>
                </c:pt>
                <c:pt idx="245">
                  <c:v>18.589088205223</c:v>
                </c:pt>
                <c:pt idx="246">
                  <c:v>27.926200361178001</c:v>
                </c:pt>
                <c:pt idx="247">
                  <c:v>22.370947596055</c:v>
                </c:pt>
                <c:pt idx="248">
                  <c:v>13.074581146452999</c:v>
                </c:pt>
                <c:pt idx="249">
                  <c:v>14.97790758631</c:v>
                </c:pt>
                <c:pt idx="250">
                  <c:v>7.4923203716189999</c:v>
                </c:pt>
                <c:pt idx="251">
                  <c:v>9.3687346586960007</c:v>
                </c:pt>
                <c:pt idx="252">
                  <c:v>33.779979732012002</c:v>
                </c:pt>
                <c:pt idx="253">
                  <c:v>48.800630654302999</c:v>
                </c:pt>
                <c:pt idx="254">
                  <c:v>28.212458621726999</c:v>
                </c:pt>
                <c:pt idx="255">
                  <c:v>45.20710505001</c:v>
                </c:pt>
                <c:pt idx="256">
                  <c:v>22.639800769752998</c:v>
                </c:pt>
                <c:pt idx="257">
                  <c:v>15.098327860189</c:v>
                </c:pt>
                <c:pt idx="258">
                  <c:v>24.540340544418001</c:v>
                </c:pt>
                <c:pt idx="259">
                  <c:v>94.519745174766996</c:v>
                </c:pt>
                <c:pt idx="260">
                  <c:v>79.513829726813</c:v>
                </c:pt>
                <c:pt idx="261">
                  <c:v>75.823634226788002</c:v>
                </c:pt>
                <c:pt idx="262">
                  <c:v>104.396021562523</c:v>
                </c:pt>
                <c:pt idx="263">
                  <c:v>83.674051535608996</c:v>
                </c:pt>
                <c:pt idx="264">
                  <c:v>53.265356592539</c:v>
                </c:pt>
                <c:pt idx="265">
                  <c:v>32.345218615623999</c:v>
                </c:pt>
                <c:pt idx="266">
                  <c:v>106.709350406829</c:v>
                </c:pt>
                <c:pt idx="267">
                  <c:v>135.457407230754</c:v>
                </c:pt>
                <c:pt idx="268">
                  <c:v>143.24458535467301</c:v>
                </c:pt>
                <c:pt idx="269">
                  <c:v>78.422371416000999</c:v>
                </c:pt>
                <c:pt idx="270">
                  <c:v>157.175442295528</c:v>
                </c:pt>
                <c:pt idx="271">
                  <c:v>126.56043260656899</c:v>
                </c:pt>
                <c:pt idx="272">
                  <c:v>61.375580191030998</c:v>
                </c:pt>
                <c:pt idx="273">
                  <c:v>205.47287566010499</c:v>
                </c:pt>
                <c:pt idx="274">
                  <c:v>226.75736961451199</c:v>
                </c:pt>
                <c:pt idx="275">
                  <c:v>209.752530500712</c:v>
                </c:pt>
                <c:pt idx="276">
                  <c:v>173.520735727919</c:v>
                </c:pt>
                <c:pt idx="277">
                  <c:v>199.099221000135</c:v>
                </c:pt>
                <c:pt idx="278">
                  <c:v>104.454803953807</c:v>
                </c:pt>
                <c:pt idx="279">
                  <c:v>42.581194596058999</c:v>
                </c:pt>
                <c:pt idx="280">
                  <c:v>215.22472563694799</c:v>
                </c:pt>
                <c:pt idx="281">
                  <c:v>227.47598864564199</c:v>
                </c:pt>
                <c:pt idx="282">
                  <c:v>243.778765894375</c:v>
                </c:pt>
                <c:pt idx="283">
                  <c:v>199.078772737918</c:v>
                </c:pt>
                <c:pt idx="284">
                  <c:v>293.547818939705</c:v>
                </c:pt>
                <c:pt idx="285">
                  <c:v>158.68040590839601</c:v>
                </c:pt>
                <c:pt idx="286">
                  <c:v>80.381124159429007</c:v>
                </c:pt>
                <c:pt idx="287">
                  <c:v>304.77613701161999</c:v>
                </c:pt>
                <c:pt idx="288">
                  <c:v>368.68358273693298</c:v>
                </c:pt>
                <c:pt idx="289">
                  <c:v>243.16469960263299</c:v>
                </c:pt>
                <c:pt idx="290">
                  <c:v>295.541098064106</c:v>
                </c:pt>
                <c:pt idx="291">
                  <c:v>531.87250996015905</c:v>
                </c:pt>
                <c:pt idx="292">
                  <c:v>269.246110889509</c:v>
                </c:pt>
                <c:pt idx="293">
                  <c:v>139.720558882235</c:v>
                </c:pt>
                <c:pt idx="294">
                  <c:v>336.37674195098498</c:v>
                </c:pt>
                <c:pt idx="295">
                  <c:v>433.465112078826</c:v>
                </c:pt>
                <c:pt idx="296">
                  <c:v>291.79747243016902</c:v>
                </c:pt>
                <c:pt idx="297">
                  <c:v>442.18305166878599</c:v>
                </c:pt>
                <c:pt idx="298">
                  <c:v>286.038868827849</c:v>
                </c:pt>
                <c:pt idx="299">
                  <c:v>174.686681156182</c:v>
                </c:pt>
                <c:pt idx="300">
                  <c:v>117.924528301886</c:v>
                </c:pt>
                <c:pt idx="301">
                  <c:v>359.35234906180398</c:v>
                </c:pt>
                <c:pt idx="302">
                  <c:v>340.57569602593202</c:v>
                </c:pt>
                <c:pt idx="303">
                  <c:v>314.316823140292</c:v>
                </c:pt>
                <c:pt idx="304">
                  <c:v>233.19644220649201</c:v>
                </c:pt>
                <c:pt idx="305">
                  <c:v>265.84697183683602</c:v>
                </c:pt>
                <c:pt idx="306">
                  <c:v>153.92935890502099</c:v>
                </c:pt>
                <c:pt idx="307">
                  <c:v>89.549752176267006</c:v>
                </c:pt>
                <c:pt idx="308">
                  <c:v>295.17668732205601</c:v>
                </c:pt>
                <c:pt idx="309">
                  <c:v>294.53841622485902</c:v>
                </c:pt>
                <c:pt idx="310">
                  <c:v>232.735274204468</c:v>
                </c:pt>
                <c:pt idx="311">
                  <c:v>200.13200195873799</c:v>
                </c:pt>
                <c:pt idx="312">
                  <c:v>197.30633953847399</c:v>
                </c:pt>
                <c:pt idx="313">
                  <c:v>128.88812510740601</c:v>
                </c:pt>
                <c:pt idx="314">
                  <c:v>83.865557060834007</c:v>
                </c:pt>
                <c:pt idx="315">
                  <c:v>202.98430110777599</c:v>
                </c:pt>
                <c:pt idx="316">
                  <c:v>286.278166952221</c:v>
                </c:pt>
                <c:pt idx="317">
                  <c:v>176.470588235294</c:v>
                </c:pt>
                <c:pt idx="318">
                  <c:v>151.04417494855701</c:v>
                </c:pt>
                <c:pt idx="319">
                  <c:v>167.35664582048699</c:v>
                </c:pt>
                <c:pt idx="320">
                  <c:v>103.67265909341501</c:v>
                </c:pt>
                <c:pt idx="321">
                  <c:v>66.245638828777004</c:v>
                </c:pt>
                <c:pt idx="322">
                  <c:v>175.27122667672401</c:v>
                </c:pt>
                <c:pt idx="323">
                  <c:v>178.384284344549</c:v>
                </c:pt>
                <c:pt idx="324">
                  <c:v>102.839257768835</c:v>
                </c:pt>
                <c:pt idx="325">
                  <c:v>125.82290426225001</c:v>
                </c:pt>
                <c:pt idx="326">
                  <c:v>36.215482118605003</c:v>
                </c:pt>
                <c:pt idx="327">
                  <c:v>43.097581998819997</c:v>
                </c:pt>
                <c:pt idx="328">
                  <c:v>34.074646191589999</c:v>
                </c:pt>
                <c:pt idx="329">
                  <c:v>95.848832698143994</c:v>
                </c:pt>
                <c:pt idx="330">
                  <c:v>185.754254001742</c:v>
                </c:pt>
                <c:pt idx="331">
                  <c:v>168.29195195610501</c:v>
                </c:pt>
                <c:pt idx="332">
                  <c:v>102.038449943183</c:v>
                </c:pt>
                <c:pt idx="333">
                  <c:v>140.18364056914501</c:v>
                </c:pt>
                <c:pt idx="334">
                  <c:v>16.415355392443999</c:v>
                </c:pt>
                <c:pt idx="335">
                  <c:v>49.365303244004998</c:v>
                </c:pt>
                <c:pt idx="336">
                  <c:v>115.92145729831999</c:v>
                </c:pt>
                <c:pt idx="337">
                  <c:v>121.42278939098099</c:v>
                </c:pt>
                <c:pt idx="338">
                  <c:v>112.607216445445</c:v>
                </c:pt>
                <c:pt idx="339">
                  <c:v>129.863883411091</c:v>
                </c:pt>
                <c:pt idx="340">
                  <c:v>91.559646290629004</c:v>
                </c:pt>
                <c:pt idx="341">
                  <c:v>50.696472973951003</c:v>
                </c:pt>
                <c:pt idx="342">
                  <c:v>33.863867253640002</c:v>
                </c:pt>
                <c:pt idx="343">
                  <c:v>106.964871763704</c:v>
                </c:pt>
                <c:pt idx="344">
                  <c:v>166.190092137742</c:v>
                </c:pt>
                <c:pt idx="345">
                  <c:v>137.56171853889799</c:v>
                </c:pt>
                <c:pt idx="346">
                  <c:v>138.08748828722099</c:v>
                </c:pt>
                <c:pt idx="347">
                  <c:v>185.42784384503099</c:v>
                </c:pt>
                <c:pt idx="348">
                  <c:v>123.863551911214</c:v>
                </c:pt>
                <c:pt idx="349">
                  <c:v>106.752730883813</c:v>
                </c:pt>
                <c:pt idx="350">
                  <c:v>272.08507026784099</c:v>
                </c:pt>
                <c:pt idx="351">
                  <c:v>346.19437057849501</c:v>
                </c:pt>
                <c:pt idx="352">
                  <c:v>403.29695258740202</c:v>
                </c:pt>
                <c:pt idx="353">
                  <c:v>423.06328216040902</c:v>
                </c:pt>
                <c:pt idx="354">
                  <c:v>369.794190405753</c:v>
                </c:pt>
                <c:pt idx="355">
                  <c:v>242.97918052074201</c:v>
                </c:pt>
                <c:pt idx="356">
                  <c:v>217.86492374727601</c:v>
                </c:pt>
                <c:pt idx="357">
                  <c:v>460.77018121910999</c:v>
                </c:pt>
                <c:pt idx="358">
                  <c:v>462.60402129529098</c:v>
                </c:pt>
                <c:pt idx="359">
                  <c:v>589.13602034725204</c:v>
                </c:pt>
                <c:pt idx="360">
                  <c:v>1146.1616608924401</c:v>
                </c:pt>
                <c:pt idx="361">
                  <c:v>823.87403881362104</c:v>
                </c:pt>
                <c:pt idx="362">
                  <c:v>311.99202978343999</c:v>
                </c:pt>
                <c:pt idx="363">
                  <c:v>325.79280628464801</c:v>
                </c:pt>
                <c:pt idx="364">
                  <c:v>782.71181973909597</c:v>
                </c:pt>
                <c:pt idx="365">
                  <c:v>973.84603203926997</c:v>
                </c:pt>
                <c:pt idx="366">
                  <c:v>837.91499259885802</c:v>
                </c:pt>
                <c:pt idx="367">
                  <c:v>799.47054930509501</c:v>
                </c:pt>
                <c:pt idx="368">
                  <c:v>665.55299233685901</c:v>
                </c:pt>
                <c:pt idx="369">
                  <c:v>392.61460101867499</c:v>
                </c:pt>
                <c:pt idx="370">
                  <c:v>159.244121237857</c:v>
                </c:pt>
                <c:pt idx="371">
                  <c:v>725.52354629531203</c:v>
                </c:pt>
                <c:pt idx="372">
                  <c:v>809.02703853523496</c:v>
                </c:pt>
                <c:pt idx="373">
                  <c:v>624.03328177502794</c:v>
                </c:pt>
                <c:pt idx="374">
                  <c:v>544.98824535156996</c:v>
                </c:pt>
                <c:pt idx="375">
                  <c:v>490.23547376034702</c:v>
                </c:pt>
                <c:pt idx="376">
                  <c:v>184.961801367108</c:v>
                </c:pt>
                <c:pt idx="377">
                  <c:v>99.240940911406994</c:v>
                </c:pt>
                <c:pt idx="378">
                  <c:v>475.53800274038798</c:v>
                </c:pt>
                <c:pt idx="379">
                  <c:v>640.43915827996295</c:v>
                </c:pt>
                <c:pt idx="380">
                  <c:v>455.74672347769803</c:v>
                </c:pt>
                <c:pt idx="381">
                  <c:v>334.88171113751702</c:v>
                </c:pt>
                <c:pt idx="382">
                  <c:v>297.78018408229502</c:v>
                </c:pt>
                <c:pt idx="383">
                  <c:v>146.28596196564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0B-4754-90A8-6FC4E50C7F8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85</c:f>
              <c:numCache>
                <c:formatCode>m/d/yyyy</c:formatCode>
                <c:ptCount val="3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</c:numCache>
            </c:numRef>
          </c:cat>
          <c:val>
            <c:numRef>
              <c:f>List1!$C$2:$C$385</c:f>
              <c:numCache>
                <c:formatCode>General</c:formatCode>
                <c:ptCount val="38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81750106275099998</c:v>
                </c:pt>
                <c:pt idx="9">
                  <c:v>0.81753113771700003</c:v>
                </c:pt>
                <c:pt idx="10">
                  <c:v>1.2263368093160001</c:v>
                </c:pt>
                <c:pt idx="11">
                  <c:v>2.4527638560709999</c:v>
                </c:pt>
                <c:pt idx="12">
                  <c:v>0.40880734545000003</c:v>
                </c:pt>
                <c:pt idx="13">
                  <c:v>0</c:v>
                </c:pt>
                <c:pt idx="14">
                  <c:v>1.2265072752320001</c:v>
                </c:pt>
                <c:pt idx="15">
                  <c:v>2.4530947834929999</c:v>
                </c:pt>
                <c:pt idx="16">
                  <c:v>0.81772835064100002</c:v>
                </c:pt>
                <c:pt idx="17">
                  <c:v>4.0887754935149996</c:v>
                </c:pt>
                <c:pt idx="18">
                  <c:v>2.8622364697989999</c:v>
                </c:pt>
                <c:pt idx="19">
                  <c:v>1.6356238882859999</c:v>
                </c:pt>
                <c:pt idx="20">
                  <c:v>0.40891934883600001</c:v>
                </c:pt>
                <c:pt idx="21">
                  <c:v>3.6804095886930002</c:v>
                </c:pt>
                <c:pt idx="22">
                  <c:v>5.7252688831630003</c:v>
                </c:pt>
                <c:pt idx="23">
                  <c:v>5.7254796111579997</c:v>
                </c:pt>
                <c:pt idx="24">
                  <c:v>4.9077145182460002</c:v>
                </c:pt>
                <c:pt idx="25">
                  <c:v>8.5887814155120008</c:v>
                </c:pt>
                <c:pt idx="26">
                  <c:v>3.6810418166350001</c:v>
                </c:pt>
                <c:pt idx="27">
                  <c:v>4.4991983246620002</c:v>
                </c:pt>
                <c:pt idx="28">
                  <c:v>8.1798252789320003</c:v>
                </c:pt>
                <c:pt idx="29">
                  <c:v>5.3165602672999999</c:v>
                </c:pt>
                <c:pt idx="30">
                  <c:v>7.7698488968849997</c:v>
                </c:pt>
                <c:pt idx="31">
                  <c:v>4.4978921241899998</c:v>
                </c:pt>
                <c:pt idx="32">
                  <c:v>6.5417198181399998</c:v>
                </c:pt>
                <c:pt idx="33">
                  <c:v>3.6793563579269999</c:v>
                </c:pt>
                <c:pt idx="34">
                  <c:v>1.6351090617740001</c:v>
                </c:pt>
                <c:pt idx="35">
                  <c:v>5.7223203191409997</c:v>
                </c:pt>
                <c:pt idx="36">
                  <c:v>6.9478218578469999</c:v>
                </c:pt>
                <c:pt idx="37">
                  <c:v>2.4519319180229999</c:v>
                </c:pt>
                <c:pt idx="38">
                  <c:v>6.129228657004</c:v>
                </c:pt>
                <c:pt idx="39">
                  <c:v>6.5372028126309996</c:v>
                </c:pt>
                <c:pt idx="40">
                  <c:v>2.8597458094510002</c:v>
                </c:pt>
                <c:pt idx="41">
                  <c:v>3.267947157294</c:v>
                </c:pt>
                <c:pt idx="42">
                  <c:v>8.1690670108560006</c:v>
                </c:pt>
                <c:pt idx="43">
                  <c:v>4.4925464570139999</c:v>
                </c:pt>
                <c:pt idx="44">
                  <c:v>3.2669862868249999</c:v>
                </c:pt>
                <c:pt idx="45">
                  <c:v>5.3083107730119998</c:v>
                </c:pt>
                <c:pt idx="46">
                  <c:v>6.1243737827800002</c:v>
                </c:pt>
                <c:pt idx="47">
                  <c:v>1.224754742862</c:v>
                </c:pt>
                <c:pt idx="48">
                  <c:v>1.632846336913</c:v>
                </c:pt>
                <c:pt idx="49">
                  <c:v>5.714402334741</c:v>
                </c:pt>
                <c:pt idx="50">
                  <c:v>5.7138192800579999</c:v>
                </c:pt>
                <c:pt idx="51">
                  <c:v>6.5294396108450004</c:v>
                </c:pt>
                <c:pt idx="52">
                  <c:v>4.080500106093</c:v>
                </c:pt>
                <c:pt idx="53">
                  <c:v>3.2640804269410002</c:v>
                </c:pt>
                <c:pt idx="54">
                  <c:v>3.2637475164919998</c:v>
                </c:pt>
                <c:pt idx="55">
                  <c:v>1.6317139931710001</c:v>
                </c:pt>
                <c:pt idx="56">
                  <c:v>4.07888564844</c:v>
                </c:pt>
                <c:pt idx="57">
                  <c:v>2.447091835278</c:v>
                </c:pt>
                <c:pt idx="58">
                  <c:v>4.893684699894</c:v>
                </c:pt>
                <c:pt idx="59">
                  <c:v>2.0386611704359998</c:v>
                </c:pt>
                <c:pt idx="60">
                  <c:v>1.222967326389</c:v>
                </c:pt>
                <c:pt idx="61">
                  <c:v>3.6682141095810001</c:v>
                </c:pt>
                <c:pt idx="62">
                  <c:v>0.40750460480200001</c:v>
                </c:pt>
                <c:pt idx="63">
                  <c:v>1.222284694551</c:v>
                </c:pt>
                <c:pt idx="64">
                  <c:v>3.2588150948310002</c:v>
                </c:pt>
                <c:pt idx="65">
                  <c:v>2.8509406067610001</c:v>
                </c:pt>
                <c:pt idx="66">
                  <c:v>4.0720094144849996</c:v>
                </c:pt>
                <c:pt idx="67">
                  <c:v>2.0356234096689998</c:v>
                </c:pt>
                <c:pt idx="68">
                  <c:v>2.035242254885</c:v>
                </c:pt>
                <c:pt idx="69">
                  <c:v>0.813947809666</c:v>
                </c:pt>
                <c:pt idx="70">
                  <c:v>3.6620795729200002</c:v>
                </c:pt>
                <c:pt idx="71">
                  <c:v>2.0341079216289999</c:v>
                </c:pt>
                <c:pt idx="72">
                  <c:v>2.0337356062360001</c:v>
                </c:pt>
                <c:pt idx="73">
                  <c:v>2.4400261896140001</c:v>
                </c:pt>
                <c:pt idx="74">
                  <c:v>2.0329748521009998</c:v>
                </c:pt>
                <c:pt idx="75">
                  <c:v>2.439113626108</c:v>
                </c:pt>
                <c:pt idx="76">
                  <c:v>1.62577834138</c:v>
                </c:pt>
                <c:pt idx="77">
                  <c:v>2.8445802618629998</c:v>
                </c:pt>
                <c:pt idx="78">
                  <c:v>2.8440486251050001</c:v>
                </c:pt>
                <c:pt idx="79">
                  <c:v>4.8746206935769996</c:v>
                </c:pt>
                <c:pt idx="80">
                  <c:v>1.6245699966289999</c:v>
                </c:pt>
                <c:pt idx="81">
                  <c:v>2.0303331776740001</c:v>
                </c:pt>
                <c:pt idx="82">
                  <c:v>0.40599080024799999</c:v>
                </c:pt>
                <c:pt idx="83">
                  <c:v>0.40591664095800001</c:v>
                </c:pt>
                <c:pt idx="84">
                  <c:v>2.8408860317690001</c:v>
                </c:pt>
                <c:pt idx="85">
                  <c:v>2.8403557748489998</c:v>
                </c:pt>
                <c:pt idx="86">
                  <c:v>1.217073101467</c:v>
                </c:pt>
                <c:pt idx="87">
                  <c:v>4.0561533874959999</c:v>
                </c:pt>
                <c:pt idx="88">
                  <c:v>2.4332380315100002</c:v>
                </c:pt>
                <c:pt idx="89">
                  <c:v>0.810974101542</c:v>
                </c:pt>
                <c:pt idx="90">
                  <c:v>1.6220337058600001</c:v>
                </c:pt>
                <c:pt idx="91">
                  <c:v>2.8387201427469999</c:v>
                </c:pt>
                <c:pt idx="92">
                  <c:v>4.4610811227319997</c:v>
                </c:pt>
                <c:pt idx="93">
                  <c:v>3.2446068550430001</c:v>
                </c:pt>
                <c:pt idx="94">
                  <c:v>1.2167917258159999</c:v>
                </c:pt>
                <c:pt idx="95">
                  <c:v>1.622481098095</c:v>
                </c:pt>
                <c:pt idx="96">
                  <c:v>0</c:v>
                </c:pt>
                <c:pt idx="97">
                  <c:v>0</c:v>
                </c:pt>
                <c:pt idx="98">
                  <c:v>2.0284304816300001</c:v>
                </c:pt>
                <c:pt idx="99">
                  <c:v>1.2171224790349999</c:v>
                </c:pt>
                <c:pt idx="100">
                  <c:v>2.434383228722</c:v>
                </c:pt>
                <c:pt idx="101">
                  <c:v>2.4345116369649999</c:v>
                </c:pt>
                <c:pt idx="102">
                  <c:v>0.81154997930499995</c:v>
                </c:pt>
                <c:pt idx="103">
                  <c:v>0.81159279143200003</c:v>
                </c:pt>
                <c:pt idx="104">
                  <c:v>0.40581945092600002</c:v>
                </c:pt>
                <c:pt idx="105">
                  <c:v>3.24672689345</c:v>
                </c:pt>
                <c:pt idx="106">
                  <c:v>1.2175917658319999</c:v>
                </c:pt>
                <c:pt idx="107">
                  <c:v>1.2176560121760001</c:v>
                </c:pt>
                <c:pt idx="108">
                  <c:v>1.6236336108389999</c:v>
                </c:pt>
                <c:pt idx="109">
                  <c:v>0.40592982285200002</c:v>
                </c:pt>
                <c:pt idx="110">
                  <c:v>0.40595124525499998</c:v>
                </c:pt>
                <c:pt idx="111">
                  <c:v>0</c:v>
                </c:pt>
                <c:pt idx="112">
                  <c:v>1.2179872354929999</c:v>
                </c:pt>
                <c:pt idx="113">
                  <c:v>0.81203764606499995</c:v>
                </c:pt>
                <c:pt idx="114">
                  <c:v>0.81208050966099998</c:v>
                </c:pt>
                <c:pt idx="115">
                  <c:v>1.2181900132779999</c:v>
                </c:pt>
                <c:pt idx="116">
                  <c:v>1.6243390970289999</c:v>
                </c:pt>
                <c:pt idx="117">
                  <c:v>0.406107862248</c:v>
                </c:pt>
                <c:pt idx="118">
                  <c:v>0</c:v>
                </c:pt>
                <c:pt idx="119">
                  <c:v>0.81230149382200001</c:v>
                </c:pt>
                <c:pt idx="120">
                  <c:v>0</c:v>
                </c:pt>
                <c:pt idx="121">
                  <c:v>0</c:v>
                </c:pt>
                <c:pt idx="122">
                  <c:v>1.218526476549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.40620849056899999</c:v>
                </c:pt>
                <c:pt idx="127">
                  <c:v>0.40621509089000002</c:v>
                </c:pt>
                <c:pt idx="128">
                  <c:v>0</c:v>
                </c:pt>
                <c:pt idx="129">
                  <c:v>0</c:v>
                </c:pt>
                <c:pt idx="131">
                  <c:v>0.40624809571199999</c:v>
                </c:pt>
                <c:pt idx="132">
                  <c:v>0.40625634775500002</c:v>
                </c:pt>
                <c:pt idx="133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.406304216218</c:v>
                </c:pt>
                <c:pt idx="139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.406376865777</c:v>
                </c:pt>
                <c:pt idx="148">
                  <c:v>0</c:v>
                </c:pt>
                <c:pt idx="150">
                  <c:v>0.40637521436200003</c:v>
                </c:pt>
                <c:pt idx="151">
                  <c:v>0.81269758709999995</c:v>
                </c:pt>
                <c:pt idx="153">
                  <c:v>0.40629761300099998</c:v>
                </c:pt>
                <c:pt idx="154">
                  <c:v>0.81254240455600002</c:v>
                </c:pt>
                <c:pt idx="155">
                  <c:v>0</c:v>
                </c:pt>
                <c:pt idx="156">
                  <c:v>0.40622004127099998</c:v>
                </c:pt>
                <c:pt idx="157">
                  <c:v>1.624774562529</c:v>
                </c:pt>
                <c:pt idx="158">
                  <c:v>0.40616724342400001</c:v>
                </c:pt>
                <c:pt idx="159">
                  <c:v>0</c:v>
                </c:pt>
                <c:pt idx="160">
                  <c:v>0.40611610859500002</c:v>
                </c:pt>
                <c:pt idx="161">
                  <c:v>1.6243588858519999</c:v>
                </c:pt>
                <c:pt idx="162">
                  <c:v>0.40606498664000001</c:v>
                </c:pt>
                <c:pt idx="163">
                  <c:v>1.6241544246020001</c:v>
                </c:pt>
                <c:pt idx="164">
                  <c:v>0.406012229088</c:v>
                </c:pt>
                <c:pt idx="165">
                  <c:v>2.029937518523</c:v>
                </c:pt>
                <c:pt idx="166">
                  <c:v>0</c:v>
                </c:pt>
                <c:pt idx="167">
                  <c:v>0.40593476628300001</c:v>
                </c:pt>
                <c:pt idx="168">
                  <c:v>2.0295502516639998</c:v>
                </c:pt>
                <c:pt idx="169">
                  <c:v>2.029418449849</c:v>
                </c:pt>
                <c:pt idx="170">
                  <c:v>0.81171466605999998</c:v>
                </c:pt>
                <c:pt idx="171">
                  <c:v>2.0291631325399999</c:v>
                </c:pt>
                <c:pt idx="172">
                  <c:v>1.217418828599</c:v>
                </c:pt>
                <c:pt idx="173">
                  <c:v>0.405779929313</c:v>
                </c:pt>
                <c:pt idx="174">
                  <c:v>0</c:v>
                </c:pt>
                <c:pt idx="175">
                  <c:v>2.0286444597709998</c:v>
                </c:pt>
                <c:pt idx="176">
                  <c:v>1.2171076653440001</c:v>
                </c:pt>
                <c:pt idx="177">
                  <c:v>0.81135573486500001</c:v>
                </c:pt>
                <c:pt idx="178">
                  <c:v>0.405651537216</c:v>
                </c:pt>
                <c:pt idx="179">
                  <c:v>0.81125042083599996</c:v>
                </c:pt>
                <c:pt idx="180">
                  <c:v>0.405598887036</c:v>
                </c:pt>
                <c:pt idx="181">
                  <c:v>0.40561698399399998</c:v>
                </c:pt>
                <c:pt idx="182">
                  <c:v>0.81127016513399997</c:v>
                </c:pt>
                <c:pt idx="183">
                  <c:v>1.622606148866</c:v>
                </c:pt>
                <c:pt idx="184">
                  <c:v>1.6226785554909999</c:v>
                </c:pt>
                <c:pt idx="185">
                  <c:v>1.2170582889779999</c:v>
                </c:pt>
                <c:pt idx="186">
                  <c:v>0.81140840213400001</c:v>
                </c:pt>
                <c:pt idx="187">
                  <c:v>0</c:v>
                </c:pt>
                <c:pt idx="188">
                  <c:v>0.811477538301</c:v>
                </c:pt>
                <c:pt idx="189">
                  <c:v>1.217265696641</c:v>
                </c:pt>
                <c:pt idx="190">
                  <c:v>0.81154668625100002</c:v>
                </c:pt>
                <c:pt idx="191">
                  <c:v>1.6231658226200001</c:v>
                </c:pt>
                <c:pt idx="192">
                  <c:v>0.81161584598699998</c:v>
                </c:pt>
                <c:pt idx="193">
                  <c:v>1.2174781158300001</c:v>
                </c:pt>
                <c:pt idx="194">
                  <c:v>0.40584250875599998</c:v>
                </c:pt>
                <c:pt idx="195">
                  <c:v>0.40586062746000001</c:v>
                </c:pt>
                <c:pt idx="196">
                  <c:v>1.2176313012410001</c:v>
                </c:pt>
                <c:pt idx="197">
                  <c:v>0.40589522220699997</c:v>
                </c:pt>
                <c:pt idx="198">
                  <c:v>0</c:v>
                </c:pt>
                <c:pt idx="199">
                  <c:v>1.217789468556</c:v>
                </c:pt>
                <c:pt idx="200">
                  <c:v>0.40594630142299998</c:v>
                </c:pt>
                <c:pt idx="201">
                  <c:v>0.40596442939600003</c:v>
                </c:pt>
                <c:pt idx="202">
                  <c:v>0.81196511797799997</c:v>
                </c:pt>
                <c:pt idx="203">
                  <c:v>1.624002760804</c:v>
                </c:pt>
                <c:pt idx="204">
                  <c:v>1.2180564690969999</c:v>
                </c:pt>
                <c:pt idx="205">
                  <c:v>1.6241412353210001</c:v>
                </c:pt>
                <c:pt idx="206">
                  <c:v>0.40605344475400001</c:v>
                </c:pt>
                <c:pt idx="207">
                  <c:v>1.218209800091</c:v>
                </c:pt>
                <c:pt idx="208">
                  <c:v>0.40608807238099998</c:v>
                </c:pt>
                <c:pt idx="209">
                  <c:v>0</c:v>
                </c:pt>
                <c:pt idx="210">
                  <c:v>0.40612270591400002</c:v>
                </c:pt>
                <c:pt idx="211">
                  <c:v>2.4368352008960001</c:v>
                </c:pt>
                <c:pt idx="212">
                  <c:v>2.0305145730029999</c:v>
                </c:pt>
                <c:pt idx="213">
                  <c:v>1.6242665421389999</c:v>
                </c:pt>
                <c:pt idx="214">
                  <c:v>3.2482429036039999</c:v>
                </c:pt>
                <c:pt idx="215">
                  <c:v>1.2179822905369999</c:v>
                </c:pt>
                <c:pt idx="216">
                  <c:v>0.81191567443799995</c:v>
                </c:pt>
                <c:pt idx="217">
                  <c:v>1.2177647522049999</c:v>
                </c:pt>
                <c:pt idx="218">
                  <c:v>2.8411858297879999</c:v>
                </c:pt>
                <c:pt idx="219">
                  <c:v>0.40584745006</c:v>
                </c:pt>
                <c:pt idx="220">
                  <c:v>1.6232514538239999</c:v>
                </c:pt>
                <c:pt idx="221">
                  <c:v>1.623106544771</c:v>
                </c:pt>
                <c:pt idx="222">
                  <c:v>1.2172212461909999</c:v>
                </c:pt>
                <c:pt idx="223">
                  <c:v>1.217112603201</c:v>
                </c:pt>
                <c:pt idx="224">
                  <c:v>2.839664432797</c:v>
                </c:pt>
                <c:pt idx="225">
                  <c:v>2.4337808785939998</c:v>
                </c:pt>
                <c:pt idx="226">
                  <c:v>2.0279779842710002</c:v>
                </c:pt>
                <c:pt idx="227">
                  <c:v>4.0555940836989999</c:v>
                </c:pt>
                <c:pt idx="228">
                  <c:v>1.216579546053</c:v>
                </c:pt>
                <c:pt idx="229">
                  <c:v>1.216471017578</c:v>
                </c:pt>
                <c:pt idx="230">
                  <c:v>1.621810102255</c:v>
                </c:pt>
                <c:pt idx="231">
                  <c:v>3.2466214845170001</c:v>
                </c:pt>
                <c:pt idx="232">
                  <c:v>4.062629496315</c:v>
                </c:pt>
                <c:pt idx="233">
                  <c:v>3.2532756419109998</c:v>
                </c:pt>
                <c:pt idx="234">
                  <c:v>3.2579789941800001</c:v>
                </c:pt>
                <c:pt idx="235">
                  <c:v>2.8537881999930002</c:v>
                </c:pt>
                <c:pt idx="236">
                  <c:v>1.2231717659329999</c:v>
                </c:pt>
                <c:pt idx="237">
                  <c:v>1.631081896622</c:v>
                </c:pt>
                <c:pt idx="238">
                  <c:v>5.3111517845460003</c:v>
                </c:pt>
                <c:pt idx="239">
                  <c:v>4.0857016784060001</c:v>
                </c:pt>
                <c:pt idx="240">
                  <c:v>4.0979911647309999</c:v>
                </c:pt>
                <c:pt idx="241">
                  <c:v>7.3985778289280004</c:v>
                </c:pt>
                <c:pt idx="242">
                  <c:v>1.653678400892</c:v>
                </c:pt>
                <c:pt idx="243">
                  <c:v>2.8946671959770001</c:v>
                </c:pt>
                <c:pt idx="244">
                  <c:v>4.1359913971370004</c:v>
                </c:pt>
                <c:pt idx="245">
                  <c:v>4.153099873745</c:v>
                </c:pt>
                <c:pt idx="246">
                  <c:v>5.0068009045619997</c:v>
                </c:pt>
                <c:pt idx="247">
                  <c:v>5.4562471931800003</c:v>
                </c:pt>
                <c:pt idx="248">
                  <c:v>8.4385693249559992</c:v>
                </c:pt>
                <c:pt idx="249">
                  <c:v>6.8217768170440003</c:v>
                </c:pt>
                <c:pt idx="250">
                  <c:v>2.5607648150909998</c:v>
                </c:pt>
                <c:pt idx="251">
                  <c:v>2.1348727188879999</c:v>
                </c:pt>
                <c:pt idx="252">
                  <c:v>9.4417359060630002</c:v>
                </c:pt>
                <c:pt idx="253">
                  <c:v>14.245075736319</c:v>
                </c:pt>
                <c:pt idx="254">
                  <c:v>13.898601018940999</c:v>
                </c:pt>
                <c:pt idx="255">
                  <c:v>10.061110309138</c:v>
                </c:pt>
                <c:pt idx="256">
                  <c:v>11.042744254460001</c:v>
                </c:pt>
                <c:pt idx="257">
                  <c:v>6.1930460939570002</c:v>
                </c:pt>
                <c:pt idx="258">
                  <c:v>7.0829367626549997</c:v>
                </c:pt>
                <c:pt idx="259">
                  <c:v>17.816737042777</c:v>
                </c:pt>
                <c:pt idx="260">
                  <c:v>25.109630440046001</c:v>
                </c:pt>
                <c:pt idx="261">
                  <c:v>20.346247925813</c:v>
                </c:pt>
                <c:pt idx="262">
                  <c:v>28.775401142793999</c:v>
                </c:pt>
                <c:pt idx="263">
                  <c:v>25.473340990773998</c:v>
                </c:pt>
                <c:pt idx="264">
                  <c:v>20.422182202996002</c:v>
                </c:pt>
                <c:pt idx="265">
                  <c:v>12.083188102707</c:v>
                </c:pt>
                <c:pt idx="266">
                  <c:v>50.170674068794</c:v>
                </c:pt>
                <c:pt idx="267">
                  <c:v>45.443786982248</c:v>
                </c:pt>
                <c:pt idx="268">
                  <c:v>38.426991118560998</c:v>
                </c:pt>
                <c:pt idx="269">
                  <c:v>24.060092486995</c:v>
                </c:pt>
                <c:pt idx="270">
                  <c:v>50.556608818238999</c:v>
                </c:pt>
                <c:pt idx="271">
                  <c:v>33.111454128462</c:v>
                </c:pt>
                <c:pt idx="272">
                  <c:v>28.286335749050998</c:v>
                </c:pt>
                <c:pt idx="273">
                  <c:v>85.063699435038998</c:v>
                </c:pt>
                <c:pt idx="274">
                  <c:v>69.993248878122003</c:v>
                </c:pt>
                <c:pt idx="275">
                  <c:v>66.776454521719003</c:v>
                </c:pt>
                <c:pt idx="276">
                  <c:v>71.331400592050002</c:v>
                </c:pt>
                <c:pt idx="277">
                  <c:v>85.701374857812993</c:v>
                </c:pt>
                <c:pt idx="278">
                  <c:v>47.920410448732</c:v>
                </c:pt>
                <c:pt idx="279">
                  <c:v>29.215663769446</c:v>
                </c:pt>
                <c:pt idx="280">
                  <c:v>94.742825862686004</c:v>
                </c:pt>
                <c:pt idx="281">
                  <c:v>102.04081632653001</c:v>
                </c:pt>
                <c:pt idx="282">
                  <c:v>107.51821089697</c:v>
                </c:pt>
                <c:pt idx="283">
                  <c:v>75.024464499293003</c:v>
                </c:pt>
                <c:pt idx="284">
                  <c:v>103.021978021978</c:v>
                </c:pt>
                <c:pt idx="285">
                  <c:v>78.821452757084998</c:v>
                </c:pt>
                <c:pt idx="286">
                  <c:v>43.356697776022997</c:v>
                </c:pt>
                <c:pt idx="287">
                  <c:v>107.075984706634</c:v>
                </c:pt>
                <c:pt idx="288">
                  <c:v>139.20850024148399</c:v>
                </c:pt>
                <c:pt idx="289">
                  <c:v>91.099571832012003</c:v>
                </c:pt>
                <c:pt idx="290">
                  <c:v>120.272541030775</c:v>
                </c:pt>
                <c:pt idx="291">
                  <c:v>141.566000760478</c:v>
                </c:pt>
                <c:pt idx="292">
                  <c:v>93.879083740141994</c:v>
                </c:pt>
                <c:pt idx="293">
                  <c:v>65.802615653971998</c:v>
                </c:pt>
                <c:pt idx="294">
                  <c:v>141.08385597590899</c:v>
                </c:pt>
                <c:pt idx="295">
                  <c:v>163.01286123530099</c:v>
                </c:pt>
                <c:pt idx="296">
                  <c:v>113.272921108742</c:v>
                </c:pt>
                <c:pt idx="297">
                  <c:v>159.97744379336501</c:v>
                </c:pt>
                <c:pt idx="298">
                  <c:v>129.55637893050201</c:v>
                </c:pt>
                <c:pt idx="299">
                  <c:v>87.918712870042995</c:v>
                </c:pt>
                <c:pt idx="300">
                  <c:v>71.792029825179995</c:v>
                </c:pt>
                <c:pt idx="301">
                  <c:v>148.887163890408</c:v>
                </c:pt>
                <c:pt idx="302">
                  <c:v>119.030001994556</c:v>
                </c:pt>
                <c:pt idx="303">
                  <c:v>122.297103900496</c:v>
                </c:pt>
                <c:pt idx="304">
                  <c:v>98.239599129688997</c:v>
                </c:pt>
                <c:pt idx="305">
                  <c:v>120.245896102141</c:v>
                </c:pt>
                <c:pt idx="306">
                  <c:v>71.199956601931007</c:v>
                </c:pt>
                <c:pt idx="307">
                  <c:v>51.660968099351997</c:v>
                </c:pt>
                <c:pt idx="308">
                  <c:v>138.76104249385099</c:v>
                </c:pt>
                <c:pt idx="309">
                  <c:v>120.253296539068</c:v>
                </c:pt>
                <c:pt idx="310">
                  <c:v>98.606131892744003</c:v>
                </c:pt>
                <c:pt idx="311">
                  <c:v>90.669598554996995</c:v>
                </c:pt>
                <c:pt idx="312">
                  <c:v>84.648671526667002</c:v>
                </c:pt>
                <c:pt idx="313">
                  <c:v>65.252137190785007</c:v>
                </c:pt>
                <c:pt idx="314">
                  <c:v>55.883174752568998</c:v>
                </c:pt>
                <c:pt idx="315">
                  <c:v>79.449349183601996</c:v>
                </c:pt>
                <c:pt idx="316">
                  <c:v>103.53908600496599</c:v>
                </c:pt>
                <c:pt idx="317">
                  <c:v>59.190007512576997</c:v>
                </c:pt>
                <c:pt idx="318">
                  <c:v>56.142185853706998</c:v>
                </c:pt>
                <c:pt idx="319">
                  <c:v>61.868103468529</c:v>
                </c:pt>
                <c:pt idx="320">
                  <c:v>45.587449303611997</c:v>
                </c:pt>
                <c:pt idx="321">
                  <c:v>31.52485735002</c:v>
                </c:pt>
                <c:pt idx="322">
                  <c:v>79.612763518246993</c:v>
                </c:pt>
                <c:pt idx="323">
                  <c:v>74.785895219330996</c:v>
                </c:pt>
                <c:pt idx="324">
                  <c:v>39.752076843197997</c:v>
                </c:pt>
                <c:pt idx="325">
                  <c:v>61.883707485484997</c:v>
                </c:pt>
                <c:pt idx="326">
                  <c:v>20.360295794376999</c:v>
                </c:pt>
                <c:pt idx="327">
                  <c:v>13.84703103364</c:v>
                </c:pt>
                <c:pt idx="328">
                  <c:v>18.739713526814</c:v>
                </c:pt>
                <c:pt idx="329">
                  <c:v>69.789973233492006</c:v>
                </c:pt>
                <c:pt idx="330">
                  <c:v>77.003328530974997</c:v>
                </c:pt>
                <c:pt idx="331">
                  <c:v>33.426090735122997</c:v>
                </c:pt>
                <c:pt idx="332">
                  <c:v>61.477308136057999</c:v>
                </c:pt>
                <c:pt idx="333">
                  <c:v>46.402929290372001</c:v>
                </c:pt>
                <c:pt idx="334">
                  <c:v>14.35325903411</c:v>
                </c:pt>
                <c:pt idx="335">
                  <c:v>29.611831195640999</c:v>
                </c:pt>
                <c:pt idx="336">
                  <c:v>90.506237245877998</c:v>
                </c:pt>
                <c:pt idx="337">
                  <c:v>75.991122855192998</c:v>
                </c:pt>
                <c:pt idx="338">
                  <c:v>54.175441049254999</c:v>
                </c:pt>
                <c:pt idx="339">
                  <c:v>48.731648104337999</c:v>
                </c:pt>
                <c:pt idx="340">
                  <c:v>54.391674447697</c:v>
                </c:pt>
                <c:pt idx="341">
                  <c:v>33.689654544461</c:v>
                </c:pt>
                <c:pt idx="342">
                  <c:v>20.998046268738001</c:v>
                </c:pt>
                <c:pt idx="343">
                  <c:v>54.379383761762</c:v>
                </c:pt>
                <c:pt idx="344">
                  <c:v>92.197656875709995</c:v>
                </c:pt>
                <c:pt idx="345">
                  <c:v>113.08805790108499</c:v>
                </c:pt>
                <c:pt idx="346">
                  <c:v>84.825726022435006</c:v>
                </c:pt>
                <c:pt idx="347">
                  <c:v>84.258236969026996</c:v>
                </c:pt>
                <c:pt idx="348">
                  <c:v>81.662016468505996</c:v>
                </c:pt>
                <c:pt idx="349">
                  <c:v>57.489184238219003</c:v>
                </c:pt>
                <c:pt idx="350">
                  <c:v>192.34543670264901</c:v>
                </c:pt>
                <c:pt idx="351">
                  <c:v>216.51013346515001</c:v>
                </c:pt>
                <c:pt idx="352">
                  <c:v>246.12134679195199</c:v>
                </c:pt>
                <c:pt idx="353">
                  <c:v>245.08080635603</c:v>
                </c:pt>
                <c:pt idx="354">
                  <c:v>199.93301736474001</c:v>
                </c:pt>
                <c:pt idx="355">
                  <c:v>137.28580871510599</c:v>
                </c:pt>
                <c:pt idx="356">
                  <c:v>154.823989569752</c:v>
                </c:pt>
                <c:pt idx="357">
                  <c:v>292.33167849669701</c:v>
                </c:pt>
                <c:pt idx="358">
                  <c:v>275.51051996161402</c:v>
                </c:pt>
                <c:pt idx="359">
                  <c:v>328.38333558490598</c:v>
                </c:pt>
                <c:pt idx="360">
                  <c:v>592.26084590753999</c:v>
                </c:pt>
                <c:pt idx="361">
                  <c:v>430.56936715824202</c:v>
                </c:pt>
                <c:pt idx="362">
                  <c:v>156.92262018364099</c:v>
                </c:pt>
                <c:pt idx="363">
                  <c:v>217.67985134058901</c:v>
                </c:pt>
                <c:pt idx="364">
                  <c:v>405.80948312686797</c:v>
                </c:pt>
                <c:pt idx="365">
                  <c:v>498.52586437952198</c:v>
                </c:pt>
                <c:pt idx="366">
                  <c:v>368.042701562567</c:v>
                </c:pt>
                <c:pt idx="367">
                  <c:v>365.04627879599502</c:v>
                </c:pt>
                <c:pt idx="368">
                  <c:v>293.24876183856099</c:v>
                </c:pt>
                <c:pt idx="369">
                  <c:v>208.70018913454601</c:v>
                </c:pt>
                <c:pt idx="370">
                  <c:v>123.975030993757</c:v>
                </c:pt>
                <c:pt idx="371">
                  <c:v>389.13898911064803</c:v>
                </c:pt>
                <c:pt idx="372">
                  <c:v>329.116415364597</c:v>
                </c:pt>
                <c:pt idx="373">
                  <c:v>275.24042415536201</c:v>
                </c:pt>
                <c:pt idx="374">
                  <c:v>235.35104698222699</c:v>
                </c:pt>
                <c:pt idx="375">
                  <c:v>237.62945278910601</c:v>
                </c:pt>
                <c:pt idx="376">
                  <c:v>129.38756552319001</c:v>
                </c:pt>
                <c:pt idx="377">
                  <c:v>113.967049138608</c:v>
                </c:pt>
                <c:pt idx="378">
                  <c:v>256.19128949615703</c:v>
                </c:pt>
                <c:pt idx="379">
                  <c:v>218.87916092618099</c:v>
                </c:pt>
                <c:pt idx="380">
                  <c:v>161.42858733286499</c:v>
                </c:pt>
                <c:pt idx="381">
                  <c:v>189.71732119142399</c:v>
                </c:pt>
                <c:pt idx="382">
                  <c:v>141.14009835000499</c:v>
                </c:pt>
                <c:pt idx="383">
                  <c:v>81.815634631549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A0B-4754-90A8-6FC4E50C7F8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85</c:f>
              <c:numCache>
                <c:formatCode>m/d/yyyy</c:formatCode>
                <c:ptCount val="38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  <c:pt idx="168">
                  <c:v>44396</c:v>
                </c:pt>
                <c:pt idx="169">
                  <c:v>44397</c:v>
                </c:pt>
                <c:pt idx="170">
                  <c:v>44398</c:v>
                </c:pt>
                <c:pt idx="171">
                  <c:v>44399</c:v>
                </c:pt>
                <c:pt idx="172">
                  <c:v>44400</c:v>
                </c:pt>
                <c:pt idx="173">
                  <c:v>44401</c:v>
                </c:pt>
                <c:pt idx="174">
                  <c:v>44402</c:v>
                </c:pt>
                <c:pt idx="175">
                  <c:v>44403</c:v>
                </c:pt>
                <c:pt idx="176">
                  <c:v>44404</c:v>
                </c:pt>
                <c:pt idx="177">
                  <c:v>44405</c:v>
                </c:pt>
                <c:pt idx="178">
                  <c:v>44406</c:v>
                </c:pt>
                <c:pt idx="179">
                  <c:v>44407</c:v>
                </c:pt>
                <c:pt idx="180">
                  <c:v>44408</c:v>
                </c:pt>
                <c:pt idx="181">
                  <c:v>44409</c:v>
                </c:pt>
                <c:pt idx="182">
                  <c:v>44410</c:v>
                </c:pt>
                <c:pt idx="183">
                  <c:v>44411</c:v>
                </c:pt>
                <c:pt idx="184">
                  <c:v>44412</c:v>
                </c:pt>
                <c:pt idx="185">
                  <c:v>44413</c:v>
                </c:pt>
                <c:pt idx="186">
                  <c:v>44414</c:v>
                </c:pt>
                <c:pt idx="187">
                  <c:v>44415</c:v>
                </c:pt>
                <c:pt idx="188">
                  <c:v>44416</c:v>
                </c:pt>
                <c:pt idx="189">
                  <c:v>44417</c:v>
                </c:pt>
                <c:pt idx="190">
                  <c:v>44418</c:v>
                </c:pt>
                <c:pt idx="191">
                  <c:v>44419</c:v>
                </c:pt>
                <c:pt idx="192">
                  <c:v>44420</c:v>
                </c:pt>
                <c:pt idx="193">
                  <c:v>44421</c:v>
                </c:pt>
                <c:pt idx="194">
                  <c:v>44422</c:v>
                </c:pt>
                <c:pt idx="195">
                  <c:v>44423</c:v>
                </c:pt>
                <c:pt idx="196">
                  <c:v>44424</c:v>
                </c:pt>
                <c:pt idx="197">
                  <c:v>44425</c:v>
                </c:pt>
                <c:pt idx="198">
                  <c:v>44426</c:v>
                </c:pt>
                <c:pt idx="199">
                  <c:v>44427</c:v>
                </c:pt>
                <c:pt idx="200">
                  <c:v>44428</c:v>
                </c:pt>
                <c:pt idx="201">
                  <c:v>44429</c:v>
                </c:pt>
                <c:pt idx="202">
                  <c:v>44430</c:v>
                </c:pt>
                <c:pt idx="203">
                  <c:v>44431</c:v>
                </c:pt>
                <c:pt idx="204">
                  <c:v>44432</c:v>
                </c:pt>
                <c:pt idx="205">
                  <c:v>44433</c:v>
                </c:pt>
                <c:pt idx="206">
                  <c:v>44434</c:v>
                </c:pt>
                <c:pt idx="207">
                  <c:v>44435</c:v>
                </c:pt>
                <c:pt idx="208">
                  <c:v>44436</c:v>
                </c:pt>
                <c:pt idx="209">
                  <c:v>44437</c:v>
                </c:pt>
                <c:pt idx="210">
                  <c:v>44438</c:v>
                </c:pt>
                <c:pt idx="211">
                  <c:v>44439</c:v>
                </c:pt>
                <c:pt idx="212">
                  <c:v>44440</c:v>
                </c:pt>
                <c:pt idx="213">
                  <c:v>44441</c:v>
                </c:pt>
                <c:pt idx="214">
                  <c:v>44442</c:v>
                </c:pt>
                <c:pt idx="215">
                  <c:v>44443</c:v>
                </c:pt>
                <c:pt idx="216">
                  <c:v>44444</c:v>
                </c:pt>
                <c:pt idx="217">
                  <c:v>44445</c:v>
                </c:pt>
                <c:pt idx="218">
                  <c:v>44446</c:v>
                </c:pt>
                <c:pt idx="219">
                  <c:v>44447</c:v>
                </c:pt>
                <c:pt idx="220">
                  <c:v>44448</c:v>
                </c:pt>
                <c:pt idx="221">
                  <c:v>44449</c:v>
                </c:pt>
                <c:pt idx="222">
                  <c:v>44450</c:v>
                </c:pt>
                <c:pt idx="223">
                  <c:v>44451</c:v>
                </c:pt>
                <c:pt idx="224">
                  <c:v>44452</c:v>
                </c:pt>
                <c:pt idx="225">
                  <c:v>44453</c:v>
                </c:pt>
                <c:pt idx="226">
                  <c:v>44454</c:v>
                </c:pt>
                <c:pt idx="227">
                  <c:v>44455</c:v>
                </c:pt>
                <c:pt idx="228">
                  <c:v>44456</c:v>
                </c:pt>
                <c:pt idx="229">
                  <c:v>44457</c:v>
                </c:pt>
                <c:pt idx="230">
                  <c:v>44458</c:v>
                </c:pt>
                <c:pt idx="231">
                  <c:v>44459</c:v>
                </c:pt>
                <c:pt idx="232">
                  <c:v>44460</c:v>
                </c:pt>
                <c:pt idx="233">
                  <c:v>44461</c:v>
                </c:pt>
                <c:pt idx="234">
                  <c:v>44462</c:v>
                </c:pt>
                <c:pt idx="235">
                  <c:v>44463</c:v>
                </c:pt>
                <c:pt idx="236">
                  <c:v>44464</c:v>
                </c:pt>
                <c:pt idx="237">
                  <c:v>44465</c:v>
                </c:pt>
                <c:pt idx="238">
                  <c:v>44466</c:v>
                </c:pt>
                <c:pt idx="239">
                  <c:v>44467</c:v>
                </c:pt>
                <c:pt idx="240">
                  <c:v>44468</c:v>
                </c:pt>
                <c:pt idx="241">
                  <c:v>44469</c:v>
                </c:pt>
                <c:pt idx="242">
                  <c:v>44470</c:v>
                </c:pt>
                <c:pt idx="243">
                  <c:v>44471</c:v>
                </c:pt>
                <c:pt idx="244">
                  <c:v>44472</c:v>
                </c:pt>
                <c:pt idx="245">
                  <c:v>44473</c:v>
                </c:pt>
                <c:pt idx="246">
                  <c:v>44474</c:v>
                </c:pt>
                <c:pt idx="247">
                  <c:v>44475</c:v>
                </c:pt>
                <c:pt idx="248">
                  <c:v>44476</c:v>
                </c:pt>
                <c:pt idx="249">
                  <c:v>44477</c:v>
                </c:pt>
                <c:pt idx="250">
                  <c:v>44478</c:v>
                </c:pt>
                <c:pt idx="251">
                  <c:v>44479</c:v>
                </c:pt>
                <c:pt idx="252">
                  <c:v>44480</c:v>
                </c:pt>
                <c:pt idx="253">
                  <c:v>44481</c:v>
                </c:pt>
                <c:pt idx="254">
                  <c:v>44482</c:v>
                </c:pt>
                <c:pt idx="255">
                  <c:v>44483</c:v>
                </c:pt>
                <c:pt idx="256">
                  <c:v>44484</c:v>
                </c:pt>
                <c:pt idx="257">
                  <c:v>44485</c:v>
                </c:pt>
                <c:pt idx="258">
                  <c:v>44486</c:v>
                </c:pt>
                <c:pt idx="259">
                  <c:v>44487</c:v>
                </c:pt>
                <c:pt idx="260">
                  <c:v>44488</c:v>
                </c:pt>
                <c:pt idx="261">
                  <c:v>44489</c:v>
                </c:pt>
                <c:pt idx="262">
                  <c:v>44490</c:v>
                </c:pt>
                <c:pt idx="263">
                  <c:v>44491</c:v>
                </c:pt>
                <c:pt idx="264">
                  <c:v>44492</c:v>
                </c:pt>
                <c:pt idx="265">
                  <c:v>44493</c:v>
                </c:pt>
                <c:pt idx="266">
                  <c:v>44494</c:v>
                </c:pt>
                <c:pt idx="267">
                  <c:v>44495</c:v>
                </c:pt>
                <c:pt idx="268">
                  <c:v>44496</c:v>
                </c:pt>
                <c:pt idx="269">
                  <c:v>44497</c:v>
                </c:pt>
                <c:pt idx="270">
                  <c:v>44498</c:v>
                </c:pt>
                <c:pt idx="271">
                  <c:v>44499</c:v>
                </c:pt>
                <c:pt idx="272">
                  <c:v>44500</c:v>
                </c:pt>
                <c:pt idx="273">
                  <c:v>44501</c:v>
                </c:pt>
                <c:pt idx="274">
                  <c:v>44502</c:v>
                </c:pt>
                <c:pt idx="275">
                  <c:v>44503</c:v>
                </c:pt>
                <c:pt idx="276">
                  <c:v>44504</c:v>
                </c:pt>
                <c:pt idx="277">
                  <c:v>44505</c:v>
                </c:pt>
                <c:pt idx="278">
                  <c:v>44506</c:v>
                </c:pt>
                <c:pt idx="279">
                  <c:v>44507</c:v>
                </c:pt>
                <c:pt idx="280">
                  <c:v>44508</c:v>
                </c:pt>
                <c:pt idx="281">
                  <c:v>44509</c:v>
                </c:pt>
                <c:pt idx="282">
                  <c:v>44510</c:v>
                </c:pt>
                <c:pt idx="283">
                  <c:v>44511</c:v>
                </c:pt>
                <c:pt idx="284">
                  <c:v>44512</c:v>
                </c:pt>
                <c:pt idx="285">
                  <c:v>44513</c:v>
                </c:pt>
                <c:pt idx="286">
                  <c:v>44514</c:v>
                </c:pt>
                <c:pt idx="287">
                  <c:v>44515</c:v>
                </c:pt>
                <c:pt idx="288">
                  <c:v>44516</c:v>
                </c:pt>
                <c:pt idx="289">
                  <c:v>44517</c:v>
                </c:pt>
                <c:pt idx="290">
                  <c:v>44518</c:v>
                </c:pt>
                <c:pt idx="291">
                  <c:v>44519</c:v>
                </c:pt>
                <c:pt idx="292">
                  <c:v>44520</c:v>
                </c:pt>
                <c:pt idx="293">
                  <c:v>44521</c:v>
                </c:pt>
                <c:pt idx="294">
                  <c:v>44522</c:v>
                </c:pt>
                <c:pt idx="295">
                  <c:v>44523</c:v>
                </c:pt>
                <c:pt idx="296">
                  <c:v>44524</c:v>
                </c:pt>
                <c:pt idx="297">
                  <c:v>44525</c:v>
                </c:pt>
                <c:pt idx="298">
                  <c:v>44526</c:v>
                </c:pt>
                <c:pt idx="299">
                  <c:v>44527</c:v>
                </c:pt>
                <c:pt idx="300">
                  <c:v>44528</c:v>
                </c:pt>
                <c:pt idx="301">
                  <c:v>44529</c:v>
                </c:pt>
                <c:pt idx="302">
                  <c:v>44530</c:v>
                </c:pt>
                <c:pt idx="303">
                  <c:v>44531</c:v>
                </c:pt>
                <c:pt idx="304">
                  <c:v>44532</c:v>
                </c:pt>
                <c:pt idx="305">
                  <c:v>44533</c:v>
                </c:pt>
                <c:pt idx="306">
                  <c:v>44534</c:v>
                </c:pt>
                <c:pt idx="307">
                  <c:v>44535</c:v>
                </c:pt>
                <c:pt idx="308">
                  <c:v>44536</c:v>
                </c:pt>
                <c:pt idx="309">
                  <c:v>44537</c:v>
                </c:pt>
                <c:pt idx="310">
                  <c:v>44538</c:v>
                </c:pt>
                <c:pt idx="311">
                  <c:v>44539</c:v>
                </c:pt>
                <c:pt idx="312">
                  <c:v>44540</c:v>
                </c:pt>
                <c:pt idx="313">
                  <c:v>44541</c:v>
                </c:pt>
                <c:pt idx="314">
                  <c:v>44542</c:v>
                </c:pt>
                <c:pt idx="315">
                  <c:v>44543</c:v>
                </c:pt>
                <c:pt idx="316">
                  <c:v>44544</c:v>
                </c:pt>
                <c:pt idx="317">
                  <c:v>44545</c:v>
                </c:pt>
                <c:pt idx="318">
                  <c:v>44546</c:v>
                </c:pt>
                <c:pt idx="319">
                  <c:v>44547</c:v>
                </c:pt>
                <c:pt idx="320">
                  <c:v>44548</c:v>
                </c:pt>
                <c:pt idx="321">
                  <c:v>44549</c:v>
                </c:pt>
                <c:pt idx="322">
                  <c:v>44550</c:v>
                </c:pt>
                <c:pt idx="323">
                  <c:v>44551</c:v>
                </c:pt>
                <c:pt idx="324">
                  <c:v>44552</c:v>
                </c:pt>
                <c:pt idx="325">
                  <c:v>44553</c:v>
                </c:pt>
                <c:pt idx="326">
                  <c:v>44554</c:v>
                </c:pt>
                <c:pt idx="327">
                  <c:v>44555</c:v>
                </c:pt>
                <c:pt idx="328">
                  <c:v>44556</c:v>
                </c:pt>
                <c:pt idx="329">
                  <c:v>44557</c:v>
                </c:pt>
                <c:pt idx="330">
                  <c:v>44558</c:v>
                </c:pt>
                <c:pt idx="331">
                  <c:v>44559</c:v>
                </c:pt>
                <c:pt idx="332">
                  <c:v>44560</c:v>
                </c:pt>
                <c:pt idx="333">
                  <c:v>44561</c:v>
                </c:pt>
                <c:pt idx="334">
                  <c:v>44562</c:v>
                </c:pt>
                <c:pt idx="335">
                  <c:v>44563</c:v>
                </c:pt>
                <c:pt idx="336">
                  <c:v>44564</c:v>
                </c:pt>
                <c:pt idx="337">
                  <c:v>44565</c:v>
                </c:pt>
                <c:pt idx="338">
                  <c:v>44566</c:v>
                </c:pt>
                <c:pt idx="339">
                  <c:v>44567</c:v>
                </c:pt>
                <c:pt idx="340">
                  <c:v>44568</c:v>
                </c:pt>
                <c:pt idx="341">
                  <c:v>44569</c:v>
                </c:pt>
                <c:pt idx="342">
                  <c:v>44570</c:v>
                </c:pt>
                <c:pt idx="343">
                  <c:v>44571</c:v>
                </c:pt>
                <c:pt idx="344">
                  <c:v>44572</c:v>
                </c:pt>
                <c:pt idx="345">
                  <c:v>44573</c:v>
                </c:pt>
                <c:pt idx="346">
                  <c:v>44574</c:v>
                </c:pt>
                <c:pt idx="347">
                  <c:v>44575</c:v>
                </c:pt>
                <c:pt idx="348">
                  <c:v>44576</c:v>
                </c:pt>
                <c:pt idx="349">
                  <c:v>44577</c:v>
                </c:pt>
                <c:pt idx="350">
                  <c:v>44578</c:v>
                </c:pt>
                <c:pt idx="351">
                  <c:v>44579</c:v>
                </c:pt>
                <c:pt idx="352">
                  <c:v>44580</c:v>
                </c:pt>
                <c:pt idx="353">
                  <c:v>44581</c:v>
                </c:pt>
                <c:pt idx="354">
                  <c:v>44582</c:v>
                </c:pt>
                <c:pt idx="355">
                  <c:v>44583</c:v>
                </c:pt>
                <c:pt idx="356">
                  <c:v>44584</c:v>
                </c:pt>
                <c:pt idx="357">
                  <c:v>44585</c:v>
                </c:pt>
                <c:pt idx="358">
                  <c:v>44586</c:v>
                </c:pt>
                <c:pt idx="359">
                  <c:v>44587</c:v>
                </c:pt>
                <c:pt idx="360">
                  <c:v>44588</c:v>
                </c:pt>
                <c:pt idx="361">
                  <c:v>44589</c:v>
                </c:pt>
                <c:pt idx="362">
                  <c:v>44590</c:v>
                </c:pt>
                <c:pt idx="363">
                  <c:v>44591</c:v>
                </c:pt>
                <c:pt idx="364">
                  <c:v>44592</c:v>
                </c:pt>
                <c:pt idx="365">
                  <c:v>44593</c:v>
                </c:pt>
                <c:pt idx="366">
                  <c:v>44594</c:v>
                </c:pt>
                <c:pt idx="367">
                  <c:v>44595</c:v>
                </c:pt>
                <c:pt idx="368">
                  <c:v>44596</c:v>
                </c:pt>
                <c:pt idx="369">
                  <c:v>44597</c:v>
                </c:pt>
                <c:pt idx="370">
                  <c:v>44598</c:v>
                </c:pt>
                <c:pt idx="371">
                  <c:v>44599</c:v>
                </c:pt>
                <c:pt idx="372">
                  <c:v>44600</c:v>
                </c:pt>
                <c:pt idx="373">
                  <c:v>44601</c:v>
                </c:pt>
                <c:pt idx="374">
                  <c:v>44602</c:v>
                </c:pt>
                <c:pt idx="375">
                  <c:v>44603</c:v>
                </c:pt>
                <c:pt idx="376">
                  <c:v>44604</c:v>
                </c:pt>
                <c:pt idx="377">
                  <c:v>44605</c:v>
                </c:pt>
                <c:pt idx="378">
                  <c:v>44606</c:v>
                </c:pt>
                <c:pt idx="379">
                  <c:v>44607</c:v>
                </c:pt>
                <c:pt idx="380">
                  <c:v>44608</c:v>
                </c:pt>
                <c:pt idx="381">
                  <c:v>44609</c:v>
                </c:pt>
                <c:pt idx="382">
                  <c:v>44610</c:v>
                </c:pt>
                <c:pt idx="383">
                  <c:v>44611</c:v>
                </c:pt>
              </c:numCache>
            </c:numRef>
          </c:cat>
          <c:val>
            <c:numRef>
              <c:f>List1!$D$2:$D$385</c:f>
              <c:numCache>
                <c:formatCode>General</c:formatCode>
                <c:ptCount val="38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13.86962552011</c:v>
                </c:pt>
                <c:pt idx="247">
                  <c:v>11.600928074244999</c:v>
                </c:pt>
                <c:pt idx="248">
                  <c:v>0</c:v>
                </c:pt>
                <c:pt idx="249">
                  <c:v>0</c:v>
                </c:pt>
                <c:pt idx="250">
                  <c:v>7.9624173899189996</c:v>
                </c:pt>
                <c:pt idx="251">
                  <c:v>0</c:v>
                </c:pt>
                <c:pt idx="252">
                  <c:v>0</c:v>
                </c:pt>
                <c:pt idx="253">
                  <c:v>6.5828451056540001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4.8146364949439997</c:v>
                </c:pt>
                <c:pt idx="258">
                  <c:v>0</c:v>
                </c:pt>
                <c:pt idx="259">
                  <c:v>4.4818931516670002</c:v>
                </c:pt>
                <c:pt idx="260">
                  <c:v>8.4058336485520009</c:v>
                </c:pt>
                <c:pt idx="261">
                  <c:v>11.700924373025</c:v>
                </c:pt>
                <c:pt idx="262">
                  <c:v>0</c:v>
                </c:pt>
                <c:pt idx="263">
                  <c:v>6.4747968532479998</c:v>
                </c:pt>
                <c:pt idx="264">
                  <c:v>6.380806533945</c:v>
                </c:pt>
                <c:pt idx="265">
                  <c:v>0</c:v>
                </c:pt>
                <c:pt idx="266">
                  <c:v>17.902965924688001</c:v>
                </c:pt>
                <c:pt idx="267">
                  <c:v>11.25777490079</c:v>
                </c:pt>
                <c:pt idx="268">
                  <c:v>15.548472362589999</c:v>
                </c:pt>
                <c:pt idx="269">
                  <c:v>10.267467529133</c:v>
                </c:pt>
                <c:pt idx="270">
                  <c:v>26.792673421667001</c:v>
                </c:pt>
                <c:pt idx="271">
                  <c:v>14.494854326714</c:v>
                </c:pt>
                <c:pt idx="272">
                  <c:v>9.5897964565699993</c:v>
                </c:pt>
                <c:pt idx="273">
                  <c:v>29.973254634326</c:v>
                </c:pt>
                <c:pt idx="274">
                  <c:v>15.454926809882</c:v>
                </c:pt>
                <c:pt idx="275">
                  <c:v>18.923067218939</c:v>
                </c:pt>
                <c:pt idx="276">
                  <c:v>13.872924016013</c:v>
                </c:pt>
                <c:pt idx="277">
                  <c:v>29.526832509041999</c:v>
                </c:pt>
                <c:pt idx="278">
                  <c:v>21.928221621226001</c:v>
                </c:pt>
                <c:pt idx="279">
                  <c:v>7.2696872217069997</c:v>
                </c:pt>
                <c:pt idx="280">
                  <c:v>29.979719601446</c:v>
                </c:pt>
                <c:pt idx="281">
                  <c:v>47.842802221272002</c:v>
                </c:pt>
                <c:pt idx="282">
                  <c:v>28.024133724572</c:v>
                </c:pt>
                <c:pt idx="283">
                  <c:v>30.289021026956998</c:v>
                </c:pt>
                <c:pt idx="284">
                  <c:v>46.88657985087</c:v>
                </c:pt>
                <c:pt idx="285">
                  <c:v>18.045384141113999</c:v>
                </c:pt>
                <c:pt idx="286">
                  <c:v>11.986455305504</c:v>
                </c:pt>
                <c:pt idx="287">
                  <c:v>54.205306259979999</c:v>
                </c:pt>
                <c:pt idx="288">
                  <c:v>58.045700370925999</c:v>
                </c:pt>
                <c:pt idx="289">
                  <c:v>26.764710025496001</c:v>
                </c:pt>
                <c:pt idx="290">
                  <c:v>30.202770417759002</c:v>
                </c:pt>
                <c:pt idx="291">
                  <c:v>59.476605868358</c:v>
                </c:pt>
                <c:pt idx="292">
                  <c:v>21.007024223723999</c:v>
                </c:pt>
                <c:pt idx="293">
                  <c:v>19.637877538194999</c:v>
                </c:pt>
                <c:pt idx="294">
                  <c:v>44.936895759240002</c:v>
                </c:pt>
                <c:pt idx="295">
                  <c:v>56.451107068932998</c:v>
                </c:pt>
                <c:pt idx="296">
                  <c:v>31.910846005621</c:v>
                </c:pt>
                <c:pt idx="297">
                  <c:v>56.348835257586003</c:v>
                </c:pt>
                <c:pt idx="298">
                  <c:v>40.335127286137002</c:v>
                </c:pt>
                <c:pt idx="299">
                  <c:v>28.635900255431999</c:v>
                </c:pt>
                <c:pt idx="300">
                  <c:v>26.213514776444001</c:v>
                </c:pt>
                <c:pt idx="301">
                  <c:v>50.358665607269003</c:v>
                </c:pt>
                <c:pt idx="302">
                  <c:v>40.617384240454001</c:v>
                </c:pt>
                <c:pt idx="303">
                  <c:v>49.585529648912001</c:v>
                </c:pt>
                <c:pt idx="304">
                  <c:v>43.245751895957</c:v>
                </c:pt>
                <c:pt idx="305">
                  <c:v>45.717304507725999</c:v>
                </c:pt>
                <c:pt idx="306">
                  <c:v>22.228284481626002</c:v>
                </c:pt>
                <c:pt idx="307">
                  <c:v>24.165290587619001</c:v>
                </c:pt>
                <c:pt idx="308">
                  <c:v>51.567349934052999</c:v>
                </c:pt>
                <c:pt idx="309">
                  <c:v>41.937308600073997</c:v>
                </c:pt>
                <c:pt idx="310">
                  <c:v>30.650753816976</c:v>
                </c:pt>
                <c:pt idx="311">
                  <c:v>37.630766915029</c:v>
                </c:pt>
                <c:pt idx="312">
                  <c:v>26.529566744730001</c:v>
                </c:pt>
                <c:pt idx="313">
                  <c:v>15.463120457707999</c:v>
                </c:pt>
                <c:pt idx="314">
                  <c:v>9.0646216880130002</c:v>
                </c:pt>
                <c:pt idx="315">
                  <c:v>39.418046298287003</c:v>
                </c:pt>
                <c:pt idx="316">
                  <c:v>38.052423850905001</c:v>
                </c:pt>
                <c:pt idx="317">
                  <c:v>34.937549130927998</c:v>
                </c:pt>
                <c:pt idx="318">
                  <c:v>15.486935049515001</c:v>
                </c:pt>
                <c:pt idx="319">
                  <c:v>31.211249546592999</c:v>
                </c:pt>
                <c:pt idx="320">
                  <c:v>15.967191623107</c:v>
                </c:pt>
                <c:pt idx="321">
                  <c:v>14.247163138397999</c:v>
                </c:pt>
                <c:pt idx="322">
                  <c:v>26.53795757244</c:v>
                </c:pt>
                <c:pt idx="323">
                  <c:v>28.731150313169</c:v>
                </c:pt>
                <c:pt idx="324">
                  <c:v>17.901606262306998</c:v>
                </c:pt>
                <c:pt idx="325">
                  <c:v>19.459827618359999</c:v>
                </c:pt>
                <c:pt idx="326">
                  <c:v>5.6754609285050002</c:v>
                </c:pt>
                <c:pt idx="327">
                  <c:v>4.8646019134099996</c:v>
                </c:pt>
                <c:pt idx="328">
                  <c:v>7.2957198443570004</c:v>
                </c:pt>
                <c:pt idx="329">
                  <c:v>28.161307972063</c:v>
                </c:pt>
                <c:pt idx="330">
                  <c:v>29.531958367920002</c:v>
                </c:pt>
                <c:pt idx="331">
                  <c:v>27.69447455669</c:v>
                </c:pt>
                <c:pt idx="332">
                  <c:v>15.712523666988</c:v>
                </c:pt>
                <c:pt idx="333">
                  <c:v>25.100401606424999</c:v>
                </c:pt>
                <c:pt idx="334">
                  <c:v>5.4903683252800004</c:v>
                </c:pt>
                <c:pt idx="335">
                  <c:v>25.849508859330999</c:v>
                </c:pt>
                <c:pt idx="336">
                  <c:v>60.624902844706</c:v>
                </c:pt>
                <c:pt idx="337">
                  <c:v>50.809096367918997</c:v>
                </c:pt>
                <c:pt idx="338">
                  <c:v>37.353539819635003</c:v>
                </c:pt>
                <c:pt idx="339">
                  <c:v>39.191745615423002</c:v>
                </c:pt>
                <c:pt idx="340">
                  <c:v>45.133365395285999</c:v>
                </c:pt>
                <c:pt idx="341">
                  <c:v>23.605609282905</c:v>
                </c:pt>
                <c:pt idx="342">
                  <c:v>27.250966672804001</c:v>
                </c:pt>
                <c:pt idx="343">
                  <c:v>61.433596863961</c:v>
                </c:pt>
                <c:pt idx="344">
                  <c:v>75.485940743536005</c:v>
                </c:pt>
                <c:pt idx="345">
                  <c:v>92.112175358553003</c:v>
                </c:pt>
                <c:pt idx="346">
                  <c:v>64.965661007752999</c:v>
                </c:pt>
                <c:pt idx="347">
                  <c:v>80.472671057368004</c:v>
                </c:pt>
                <c:pt idx="348">
                  <c:v>53.530551153372002</c:v>
                </c:pt>
                <c:pt idx="349">
                  <c:v>58.396420229081997</c:v>
                </c:pt>
                <c:pt idx="350">
                  <c:v>189.10079072145399</c:v>
                </c:pt>
                <c:pt idx="351">
                  <c:v>182.63821600105899</c:v>
                </c:pt>
                <c:pt idx="352">
                  <c:v>223.350535486377</c:v>
                </c:pt>
                <c:pt idx="353">
                  <c:v>205.677528004582</c:v>
                </c:pt>
                <c:pt idx="354">
                  <c:v>231.768779785373</c:v>
                </c:pt>
                <c:pt idx="355">
                  <c:v>124.69682228647299</c:v>
                </c:pt>
                <c:pt idx="356">
                  <c:v>140.37730681001099</c:v>
                </c:pt>
                <c:pt idx="357">
                  <c:v>354.60992907801398</c:v>
                </c:pt>
                <c:pt idx="358">
                  <c:v>311.26183372637502</c:v>
                </c:pt>
                <c:pt idx="359">
                  <c:v>347.89200457538902</c:v>
                </c:pt>
                <c:pt idx="360">
                  <c:v>438.20914036850002</c:v>
                </c:pt>
                <c:pt idx="361">
                  <c:v>407.252851774698</c:v>
                </c:pt>
                <c:pt idx="362">
                  <c:v>159.945391029673</c:v>
                </c:pt>
                <c:pt idx="363">
                  <c:v>231.458253894987</c:v>
                </c:pt>
                <c:pt idx="364">
                  <c:v>452.835725337459</c:v>
                </c:pt>
                <c:pt idx="365">
                  <c:v>503.68280625178801</c:v>
                </c:pt>
                <c:pt idx="366">
                  <c:v>399.66008975754801</c:v>
                </c:pt>
                <c:pt idx="367">
                  <c:v>352.44392034237399</c:v>
                </c:pt>
                <c:pt idx="368">
                  <c:v>293.16799714755399</c:v>
                </c:pt>
                <c:pt idx="369">
                  <c:v>234.971090635477</c:v>
                </c:pt>
                <c:pt idx="370">
                  <c:v>137.261112870868</c:v>
                </c:pt>
                <c:pt idx="371">
                  <c:v>479.79015771124199</c:v>
                </c:pt>
                <c:pt idx="372">
                  <c:v>356.57425560189898</c:v>
                </c:pt>
                <c:pt idx="373">
                  <c:v>303.44827586206799</c:v>
                </c:pt>
                <c:pt idx="374">
                  <c:v>264.26229508196701</c:v>
                </c:pt>
                <c:pt idx="375">
                  <c:v>235.39412168568299</c:v>
                </c:pt>
                <c:pt idx="376">
                  <c:v>147.086702708356</c:v>
                </c:pt>
                <c:pt idx="377">
                  <c:v>117.643983163838</c:v>
                </c:pt>
                <c:pt idx="378">
                  <c:v>327.68051802242798</c:v>
                </c:pt>
                <c:pt idx="379">
                  <c:v>283.672218381959</c:v>
                </c:pt>
                <c:pt idx="380">
                  <c:v>215.61972757652501</c:v>
                </c:pt>
                <c:pt idx="381">
                  <c:v>186.71281357343599</c:v>
                </c:pt>
                <c:pt idx="382">
                  <c:v>172.693631110822</c:v>
                </c:pt>
                <c:pt idx="383">
                  <c:v>100.608845789357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A0B-4754-90A8-6FC4E50C7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pozitivních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00206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184</c:f>
              <c:numCache>
                <c:formatCode>m/d/yyyy</c:formatCode>
                <c:ptCount val="183"/>
                <c:pt idx="0">
                  <c:v>44428</c:v>
                </c:pt>
                <c:pt idx="1">
                  <c:v>44429</c:v>
                </c:pt>
                <c:pt idx="2">
                  <c:v>44430</c:v>
                </c:pt>
                <c:pt idx="3">
                  <c:v>44431</c:v>
                </c:pt>
                <c:pt idx="4">
                  <c:v>44432</c:v>
                </c:pt>
                <c:pt idx="5">
                  <c:v>44433</c:v>
                </c:pt>
                <c:pt idx="6">
                  <c:v>44434</c:v>
                </c:pt>
                <c:pt idx="7">
                  <c:v>44435</c:v>
                </c:pt>
                <c:pt idx="8">
                  <c:v>44436</c:v>
                </c:pt>
                <c:pt idx="9">
                  <c:v>44437</c:v>
                </c:pt>
                <c:pt idx="10">
                  <c:v>44438</c:v>
                </c:pt>
                <c:pt idx="11">
                  <c:v>44439</c:v>
                </c:pt>
                <c:pt idx="12">
                  <c:v>44440</c:v>
                </c:pt>
                <c:pt idx="13">
                  <c:v>44441</c:v>
                </c:pt>
                <c:pt idx="14">
                  <c:v>44442</c:v>
                </c:pt>
                <c:pt idx="15">
                  <c:v>44443</c:v>
                </c:pt>
                <c:pt idx="16">
                  <c:v>44444</c:v>
                </c:pt>
                <c:pt idx="17">
                  <c:v>44445</c:v>
                </c:pt>
                <c:pt idx="18">
                  <c:v>44446</c:v>
                </c:pt>
                <c:pt idx="19">
                  <c:v>44447</c:v>
                </c:pt>
                <c:pt idx="20">
                  <c:v>44448</c:v>
                </c:pt>
                <c:pt idx="21">
                  <c:v>44449</c:v>
                </c:pt>
                <c:pt idx="22">
                  <c:v>44450</c:v>
                </c:pt>
                <c:pt idx="23">
                  <c:v>44451</c:v>
                </c:pt>
                <c:pt idx="24">
                  <c:v>44452</c:v>
                </c:pt>
                <c:pt idx="25">
                  <c:v>44453</c:v>
                </c:pt>
                <c:pt idx="26">
                  <c:v>44454</c:v>
                </c:pt>
                <c:pt idx="27">
                  <c:v>44455</c:v>
                </c:pt>
                <c:pt idx="28">
                  <c:v>44456</c:v>
                </c:pt>
                <c:pt idx="29">
                  <c:v>44457</c:v>
                </c:pt>
                <c:pt idx="30">
                  <c:v>44458</c:v>
                </c:pt>
                <c:pt idx="31">
                  <c:v>44459</c:v>
                </c:pt>
                <c:pt idx="32">
                  <c:v>44460</c:v>
                </c:pt>
                <c:pt idx="33">
                  <c:v>44461</c:v>
                </c:pt>
                <c:pt idx="34">
                  <c:v>44462</c:v>
                </c:pt>
                <c:pt idx="35">
                  <c:v>44463</c:v>
                </c:pt>
                <c:pt idx="36">
                  <c:v>44464</c:v>
                </c:pt>
                <c:pt idx="37">
                  <c:v>44465</c:v>
                </c:pt>
                <c:pt idx="38">
                  <c:v>44466</c:v>
                </c:pt>
                <c:pt idx="39">
                  <c:v>44467</c:v>
                </c:pt>
                <c:pt idx="40">
                  <c:v>44468</c:v>
                </c:pt>
                <c:pt idx="41">
                  <c:v>44469</c:v>
                </c:pt>
                <c:pt idx="42">
                  <c:v>44470</c:v>
                </c:pt>
                <c:pt idx="43">
                  <c:v>44471</c:v>
                </c:pt>
                <c:pt idx="44">
                  <c:v>44472</c:v>
                </c:pt>
                <c:pt idx="45">
                  <c:v>44473</c:v>
                </c:pt>
                <c:pt idx="46">
                  <c:v>44474</c:v>
                </c:pt>
                <c:pt idx="47">
                  <c:v>44475</c:v>
                </c:pt>
                <c:pt idx="48">
                  <c:v>44476</c:v>
                </c:pt>
                <c:pt idx="49">
                  <c:v>44477</c:v>
                </c:pt>
                <c:pt idx="50">
                  <c:v>44478</c:v>
                </c:pt>
                <c:pt idx="51">
                  <c:v>44479</c:v>
                </c:pt>
                <c:pt idx="52">
                  <c:v>44480</c:v>
                </c:pt>
                <c:pt idx="53">
                  <c:v>44481</c:v>
                </c:pt>
                <c:pt idx="54">
                  <c:v>44482</c:v>
                </c:pt>
                <c:pt idx="55">
                  <c:v>44483</c:v>
                </c:pt>
                <c:pt idx="56">
                  <c:v>44484</c:v>
                </c:pt>
                <c:pt idx="57">
                  <c:v>44485</c:v>
                </c:pt>
                <c:pt idx="58">
                  <c:v>44486</c:v>
                </c:pt>
                <c:pt idx="59">
                  <c:v>44487</c:v>
                </c:pt>
                <c:pt idx="60">
                  <c:v>44488</c:v>
                </c:pt>
                <c:pt idx="61">
                  <c:v>44489</c:v>
                </c:pt>
                <c:pt idx="62">
                  <c:v>44490</c:v>
                </c:pt>
                <c:pt idx="63">
                  <c:v>44491</c:v>
                </c:pt>
                <c:pt idx="64">
                  <c:v>44492</c:v>
                </c:pt>
                <c:pt idx="65">
                  <c:v>44493</c:v>
                </c:pt>
                <c:pt idx="66">
                  <c:v>44494</c:v>
                </c:pt>
                <c:pt idx="67">
                  <c:v>44495</c:v>
                </c:pt>
                <c:pt idx="68">
                  <c:v>44496</c:v>
                </c:pt>
                <c:pt idx="69">
                  <c:v>44497</c:v>
                </c:pt>
                <c:pt idx="70">
                  <c:v>44498</c:v>
                </c:pt>
                <c:pt idx="71">
                  <c:v>44499</c:v>
                </c:pt>
                <c:pt idx="72">
                  <c:v>44500</c:v>
                </c:pt>
                <c:pt idx="73">
                  <c:v>44501</c:v>
                </c:pt>
                <c:pt idx="74">
                  <c:v>44502</c:v>
                </c:pt>
                <c:pt idx="75">
                  <c:v>44503</c:v>
                </c:pt>
                <c:pt idx="76">
                  <c:v>44504</c:v>
                </c:pt>
                <c:pt idx="77">
                  <c:v>44505</c:v>
                </c:pt>
                <c:pt idx="78">
                  <c:v>44506</c:v>
                </c:pt>
                <c:pt idx="79">
                  <c:v>44507</c:v>
                </c:pt>
                <c:pt idx="80">
                  <c:v>44508</c:v>
                </c:pt>
                <c:pt idx="81">
                  <c:v>44509</c:v>
                </c:pt>
                <c:pt idx="82">
                  <c:v>44510</c:v>
                </c:pt>
                <c:pt idx="83">
                  <c:v>44511</c:v>
                </c:pt>
                <c:pt idx="84">
                  <c:v>44512</c:v>
                </c:pt>
                <c:pt idx="85">
                  <c:v>44513</c:v>
                </c:pt>
                <c:pt idx="86">
                  <c:v>44514</c:v>
                </c:pt>
                <c:pt idx="87">
                  <c:v>44515</c:v>
                </c:pt>
                <c:pt idx="88">
                  <c:v>44516</c:v>
                </c:pt>
                <c:pt idx="89">
                  <c:v>44517</c:v>
                </c:pt>
                <c:pt idx="90">
                  <c:v>44518</c:v>
                </c:pt>
                <c:pt idx="91">
                  <c:v>44519</c:v>
                </c:pt>
                <c:pt idx="92">
                  <c:v>44520</c:v>
                </c:pt>
                <c:pt idx="93">
                  <c:v>44521</c:v>
                </c:pt>
                <c:pt idx="94">
                  <c:v>44522</c:v>
                </c:pt>
                <c:pt idx="95">
                  <c:v>44523</c:v>
                </c:pt>
                <c:pt idx="96">
                  <c:v>44524</c:v>
                </c:pt>
                <c:pt idx="97">
                  <c:v>44525</c:v>
                </c:pt>
                <c:pt idx="98">
                  <c:v>44526</c:v>
                </c:pt>
                <c:pt idx="99">
                  <c:v>44527</c:v>
                </c:pt>
                <c:pt idx="100">
                  <c:v>44528</c:v>
                </c:pt>
                <c:pt idx="101">
                  <c:v>44529</c:v>
                </c:pt>
                <c:pt idx="102">
                  <c:v>44530</c:v>
                </c:pt>
                <c:pt idx="103">
                  <c:v>44531</c:v>
                </c:pt>
                <c:pt idx="104">
                  <c:v>44532</c:v>
                </c:pt>
                <c:pt idx="105">
                  <c:v>44533</c:v>
                </c:pt>
                <c:pt idx="106">
                  <c:v>44534</c:v>
                </c:pt>
                <c:pt idx="107">
                  <c:v>44535</c:v>
                </c:pt>
                <c:pt idx="108">
                  <c:v>44536</c:v>
                </c:pt>
                <c:pt idx="109">
                  <c:v>44537</c:v>
                </c:pt>
                <c:pt idx="110">
                  <c:v>44538</c:v>
                </c:pt>
                <c:pt idx="111">
                  <c:v>44539</c:v>
                </c:pt>
                <c:pt idx="112">
                  <c:v>44540</c:v>
                </c:pt>
                <c:pt idx="113">
                  <c:v>44541</c:v>
                </c:pt>
                <c:pt idx="114">
                  <c:v>44542</c:v>
                </c:pt>
                <c:pt idx="115">
                  <c:v>44543</c:v>
                </c:pt>
                <c:pt idx="116">
                  <c:v>44544</c:v>
                </c:pt>
                <c:pt idx="117">
                  <c:v>44545</c:v>
                </c:pt>
                <c:pt idx="118">
                  <c:v>44546</c:v>
                </c:pt>
                <c:pt idx="119">
                  <c:v>44547</c:v>
                </c:pt>
                <c:pt idx="120">
                  <c:v>44548</c:v>
                </c:pt>
                <c:pt idx="121">
                  <c:v>44549</c:v>
                </c:pt>
                <c:pt idx="122">
                  <c:v>44550</c:v>
                </c:pt>
                <c:pt idx="123">
                  <c:v>44551</c:v>
                </c:pt>
                <c:pt idx="124">
                  <c:v>44552</c:v>
                </c:pt>
                <c:pt idx="125">
                  <c:v>44553</c:v>
                </c:pt>
                <c:pt idx="126">
                  <c:v>44554</c:v>
                </c:pt>
                <c:pt idx="127">
                  <c:v>44555</c:v>
                </c:pt>
                <c:pt idx="128">
                  <c:v>44556</c:v>
                </c:pt>
                <c:pt idx="129">
                  <c:v>44557</c:v>
                </c:pt>
                <c:pt idx="130">
                  <c:v>44558</c:v>
                </c:pt>
                <c:pt idx="131">
                  <c:v>44559</c:v>
                </c:pt>
                <c:pt idx="132">
                  <c:v>44560</c:v>
                </c:pt>
                <c:pt idx="133">
                  <c:v>44561</c:v>
                </c:pt>
                <c:pt idx="134">
                  <c:v>44562</c:v>
                </c:pt>
                <c:pt idx="135">
                  <c:v>44563</c:v>
                </c:pt>
                <c:pt idx="136">
                  <c:v>44564</c:v>
                </c:pt>
                <c:pt idx="137">
                  <c:v>44565</c:v>
                </c:pt>
                <c:pt idx="138">
                  <c:v>44566</c:v>
                </c:pt>
                <c:pt idx="139">
                  <c:v>44567</c:v>
                </c:pt>
                <c:pt idx="140">
                  <c:v>44568</c:v>
                </c:pt>
                <c:pt idx="141">
                  <c:v>44569</c:v>
                </c:pt>
                <c:pt idx="142">
                  <c:v>44570</c:v>
                </c:pt>
                <c:pt idx="143">
                  <c:v>44571</c:v>
                </c:pt>
                <c:pt idx="144">
                  <c:v>44572</c:v>
                </c:pt>
                <c:pt idx="145">
                  <c:v>44573</c:v>
                </c:pt>
                <c:pt idx="146">
                  <c:v>44574</c:v>
                </c:pt>
                <c:pt idx="147">
                  <c:v>44575</c:v>
                </c:pt>
                <c:pt idx="148">
                  <c:v>44576</c:v>
                </c:pt>
                <c:pt idx="149">
                  <c:v>44577</c:v>
                </c:pt>
                <c:pt idx="150">
                  <c:v>44578</c:v>
                </c:pt>
                <c:pt idx="151">
                  <c:v>44579</c:v>
                </c:pt>
                <c:pt idx="152">
                  <c:v>44580</c:v>
                </c:pt>
                <c:pt idx="153">
                  <c:v>44581</c:v>
                </c:pt>
                <c:pt idx="154">
                  <c:v>44582</c:v>
                </c:pt>
                <c:pt idx="155">
                  <c:v>44583</c:v>
                </c:pt>
                <c:pt idx="156">
                  <c:v>44584</c:v>
                </c:pt>
                <c:pt idx="157">
                  <c:v>44585</c:v>
                </c:pt>
                <c:pt idx="158">
                  <c:v>44586</c:v>
                </c:pt>
                <c:pt idx="159">
                  <c:v>44587</c:v>
                </c:pt>
                <c:pt idx="160">
                  <c:v>44588</c:v>
                </c:pt>
                <c:pt idx="161">
                  <c:v>44589</c:v>
                </c:pt>
                <c:pt idx="162">
                  <c:v>44590</c:v>
                </c:pt>
                <c:pt idx="163">
                  <c:v>44591</c:v>
                </c:pt>
                <c:pt idx="164">
                  <c:v>44592</c:v>
                </c:pt>
                <c:pt idx="165">
                  <c:v>44593</c:v>
                </c:pt>
                <c:pt idx="166">
                  <c:v>44594</c:v>
                </c:pt>
                <c:pt idx="167">
                  <c:v>44595</c:v>
                </c:pt>
                <c:pt idx="168">
                  <c:v>44596</c:v>
                </c:pt>
                <c:pt idx="169">
                  <c:v>44597</c:v>
                </c:pt>
                <c:pt idx="170">
                  <c:v>44598</c:v>
                </c:pt>
                <c:pt idx="171">
                  <c:v>44599</c:v>
                </c:pt>
                <c:pt idx="172">
                  <c:v>44600</c:v>
                </c:pt>
                <c:pt idx="173">
                  <c:v>44601</c:v>
                </c:pt>
                <c:pt idx="174">
                  <c:v>44602</c:v>
                </c:pt>
                <c:pt idx="175">
                  <c:v>44603</c:v>
                </c:pt>
                <c:pt idx="176">
                  <c:v>44604</c:v>
                </c:pt>
                <c:pt idx="177">
                  <c:v>44605</c:v>
                </c:pt>
                <c:pt idx="178">
                  <c:v>44606</c:v>
                </c:pt>
                <c:pt idx="179">
                  <c:v>44607</c:v>
                </c:pt>
                <c:pt idx="180">
                  <c:v>44608</c:v>
                </c:pt>
                <c:pt idx="181">
                  <c:v>44609</c:v>
                </c:pt>
                <c:pt idx="182">
                  <c:v>44610</c:v>
                </c:pt>
              </c:numCache>
            </c:numRef>
          </c:cat>
          <c:val>
            <c:numRef>
              <c:f>Sheet1!$B$2:$B$184</c:f>
              <c:numCache>
                <c:formatCode>#\ ##0_ ;\-#\ ##0\ 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5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1</c:v>
                </c:pt>
                <c:pt idx="24">
                  <c:v>0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4</c:v>
                </c:pt>
                <c:pt idx="32">
                  <c:v>4</c:v>
                </c:pt>
                <c:pt idx="33">
                  <c:v>2</c:v>
                </c:pt>
                <c:pt idx="34">
                  <c:v>0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5</c:v>
                </c:pt>
                <c:pt idx="39">
                  <c:v>2</c:v>
                </c:pt>
                <c:pt idx="40">
                  <c:v>7</c:v>
                </c:pt>
                <c:pt idx="41">
                  <c:v>3</c:v>
                </c:pt>
                <c:pt idx="42">
                  <c:v>2</c:v>
                </c:pt>
                <c:pt idx="43">
                  <c:v>0</c:v>
                </c:pt>
                <c:pt idx="44">
                  <c:v>0</c:v>
                </c:pt>
                <c:pt idx="45">
                  <c:v>4</c:v>
                </c:pt>
                <c:pt idx="46">
                  <c:v>5</c:v>
                </c:pt>
                <c:pt idx="47">
                  <c:v>2</c:v>
                </c:pt>
                <c:pt idx="48">
                  <c:v>1</c:v>
                </c:pt>
                <c:pt idx="49">
                  <c:v>2</c:v>
                </c:pt>
                <c:pt idx="50">
                  <c:v>1</c:v>
                </c:pt>
                <c:pt idx="51">
                  <c:v>0</c:v>
                </c:pt>
                <c:pt idx="52">
                  <c:v>2</c:v>
                </c:pt>
                <c:pt idx="53">
                  <c:v>3</c:v>
                </c:pt>
                <c:pt idx="54">
                  <c:v>1</c:v>
                </c:pt>
                <c:pt idx="55">
                  <c:v>3</c:v>
                </c:pt>
                <c:pt idx="56">
                  <c:v>7</c:v>
                </c:pt>
                <c:pt idx="57">
                  <c:v>2</c:v>
                </c:pt>
                <c:pt idx="58">
                  <c:v>1</c:v>
                </c:pt>
                <c:pt idx="59">
                  <c:v>12</c:v>
                </c:pt>
                <c:pt idx="60">
                  <c:v>8</c:v>
                </c:pt>
                <c:pt idx="61">
                  <c:v>11</c:v>
                </c:pt>
                <c:pt idx="62">
                  <c:v>7</c:v>
                </c:pt>
                <c:pt idx="63">
                  <c:v>11</c:v>
                </c:pt>
                <c:pt idx="64">
                  <c:v>0</c:v>
                </c:pt>
                <c:pt idx="65">
                  <c:v>4</c:v>
                </c:pt>
                <c:pt idx="66">
                  <c:v>20</c:v>
                </c:pt>
                <c:pt idx="67">
                  <c:v>6</c:v>
                </c:pt>
                <c:pt idx="68">
                  <c:v>18</c:v>
                </c:pt>
                <c:pt idx="69">
                  <c:v>3</c:v>
                </c:pt>
                <c:pt idx="70">
                  <c:v>8</c:v>
                </c:pt>
                <c:pt idx="71">
                  <c:v>5</c:v>
                </c:pt>
                <c:pt idx="72">
                  <c:v>4</c:v>
                </c:pt>
                <c:pt idx="73">
                  <c:v>41</c:v>
                </c:pt>
                <c:pt idx="74">
                  <c:v>26</c:v>
                </c:pt>
                <c:pt idx="75">
                  <c:v>21</c:v>
                </c:pt>
                <c:pt idx="76">
                  <c:v>25</c:v>
                </c:pt>
                <c:pt idx="77">
                  <c:v>27</c:v>
                </c:pt>
                <c:pt idx="78">
                  <c:v>13</c:v>
                </c:pt>
                <c:pt idx="79">
                  <c:v>5</c:v>
                </c:pt>
                <c:pt idx="80">
                  <c:v>52</c:v>
                </c:pt>
                <c:pt idx="81">
                  <c:v>28</c:v>
                </c:pt>
                <c:pt idx="82">
                  <c:v>31</c:v>
                </c:pt>
                <c:pt idx="83">
                  <c:v>38</c:v>
                </c:pt>
                <c:pt idx="84">
                  <c:v>34</c:v>
                </c:pt>
                <c:pt idx="85">
                  <c:v>20</c:v>
                </c:pt>
                <c:pt idx="86">
                  <c:v>14</c:v>
                </c:pt>
                <c:pt idx="87">
                  <c:v>58</c:v>
                </c:pt>
                <c:pt idx="88">
                  <c:v>34</c:v>
                </c:pt>
                <c:pt idx="89">
                  <c:v>14</c:v>
                </c:pt>
                <c:pt idx="90">
                  <c:v>42</c:v>
                </c:pt>
                <c:pt idx="91">
                  <c:v>52</c:v>
                </c:pt>
                <c:pt idx="92">
                  <c:v>13</c:v>
                </c:pt>
                <c:pt idx="93">
                  <c:v>7</c:v>
                </c:pt>
                <c:pt idx="94">
                  <c:v>74</c:v>
                </c:pt>
                <c:pt idx="95">
                  <c:v>44</c:v>
                </c:pt>
                <c:pt idx="96">
                  <c:v>49</c:v>
                </c:pt>
                <c:pt idx="97">
                  <c:v>49</c:v>
                </c:pt>
                <c:pt idx="98">
                  <c:v>50</c:v>
                </c:pt>
                <c:pt idx="99">
                  <c:v>22</c:v>
                </c:pt>
                <c:pt idx="100">
                  <c:v>7</c:v>
                </c:pt>
                <c:pt idx="101">
                  <c:v>45</c:v>
                </c:pt>
                <c:pt idx="102">
                  <c:v>48</c:v>
                </c:pt>
                <c:pt idx="103">
                  <c:v>43</c:v>
                </c:pt>
                <c:pt idx="104">
                  <c:v>33</c:v>
                </c:pt>
                <c:pt idx="105">
                  <c:v>30</c:v>
                </c:pt>
                <c:pt idx="106">
                  <c:v>21</c:v>
                </c:pt>
                <c:pt idx="107">
                  <c:v>10</c:v>
                </c:pt>
                <c:pt idx="108">
                  <c:v>50</c:v>
                </c:pt>
                <c:pt idx="109">
                  <c:v>36</c:v>
                </c:pt>
                <c:pt idx="110">
                  <c:v>35</c:v>
                </c:pt>
                <c:pt idx="111">
                  <c:v>26</c:v>
                </c:pt>
                <c:pt idx="112">
                  <c:v>19</c:v>
                </c:pt>
                <c:pt idx="113">
                  <c:v>13</c:v>
                </c:pt>
                <c:pt idx="114">
                  <c:v>9</c:v>
                </c:pt>
                <c:pt idx="115">
                  <c:v>32</c:v>
                </c:pt>
                <c:pt idx="116">
                  <c:v>36</c:v>
                </c:pt>
                <c:pt idx="117">
                  <c:v>28</c:v>
                </c:pt>
                <c:pt idx="118">
                  <c:v>18</c:v>
                </c:pt>
                <c:pt idx="119">
                  <c:v>15</c:v>
                </c:pt>
                <c:pt idx="120">
                  <c:v>8</c:v>
                </c:pt>
                <c:pt idx="121">
                  <c:v>10</c:v>
                </c:pt>
                <c:pt idx="122">
                  <c:v>27</c:v>
                </c:pt>
                <c:pt idx="123">
                  <c:v>13</c:v>
                </c:pt>
                <c:pt idx="124">
                  <c:v>9</c:v>
                </c:pt>
                <c:pt idx="125">
                  <c:v>4</c:v>
                </c:pt>
                <c:pt idx="126">
                  <c:v>7</c:v>
                </c:pt>
                <c:pt idx="127">
                  <c:v>3</c:v>
                </c:pt>
                <c:pt idx="128">
                  <c:v>5</c:v>
                </c:pt>
                <c:pt idx="129">
                  <c:v>10</c:v>
                </c:pt>
                <c:pt idx="130">
                  <c:v>17</c:v>
                </c:pt>
                <c:pt idx="131">
                  <c:v>9</c:v>
                </c:pt>
                <c:pt idx="132">
                  <c:v>10</c:v>
                </c:pt>
                <c:pt idx="133">
                  <c:v>6</c:v>
                </c:pt>
                <c:pt idx="134">
                  <c:v>0</c:v>
                </c:pt>
                <c:pt idx="135">
                  <c:v>4</c:v>
                </c:pt>
                <c:pt idx="136">
                  <c:v>20</c:v>
                </c:pt>
                <c:pt idx="137">
                  <c:v>14</c:v>
                </c:pt>
                <c:pt idx="138">
                  <c:v>5</c:v>
                </c:pt>
                <c:pt idx="139">
                  <c:v>9</c:v>
                </c:pt>
                <c:pt idx="140">
                  <c:v>11</c:v>
                </c:pt>
                <c:pt idx="141">
                  <c:v>3</c:v>
                </c:pt>
                <c:pt idx="142">
                  <c:v>3</c:v>
                </c:pt>
                <c:pt idx="143">
                  <c:v>18</c:v>
                </c:pt>
                <c:pt idx="144">
                  <c:v>11</c:v>
                </c:pt>
                <c:pt idx="145">
                  <c:v>9</c:v>
                </c:pt>
                <c:pt idx="146">
                  <c:v>13</c:v>
                </c:pt>
                <c:pt idx="147">
                  <c:v>12</c:v>
                </c:pt>
                <c:pt idx="148">
                  <c:v>6</c:v>
                </c:pt>
                <c:pt idx="149">
                  <c:v>11</c:v>
                </c:pt>
                <c:pt idx="150">
                  <c:v>47</c:v>
                </c:pt>
                <c:pt idx="151">
                  <c:v>35</c:v>
                </c:pt>
                <c:pt idx="152">
                  <c:v>41</c:v>
                </c:pt>
                <c:pt idx="153">
                  <c:v>46</c:v>
                </c:pt>
                <c:pt idx="154">
                  <c:v>68</c:v>
                </c:pt>
                <c:pt idx="155">
                  <c:v>20</c:v>
                </c:pt>
                <c:pt idx="156">
                  <c:v>15</c:v>
                </c:pt>
                <c:pt idx="157">
                  <c:v>93</c:v>
                </c:pt>
                <c:pt idx="158">
                  <c:v>103</c:v>
                </c:pt>
                <c:pt idx="159">
                  <c:v>97</c:v>
                </c:pt>
                <c:pt idx="160" formatCode="General">
                  <c:v>59</c:v>
                </c:pt>
                <c:pt idx="161" formatCode="General">
                  <c:v>74</c:v>
                </c:pt>
                <c:pt idx="162" formatCode="General">
                  <c:v>30</c:v>
                </c:pt>
                <c:pt idx="163" formatCode="General">
                  <c:v>31</c:v>
                </c:pt>
                <c:pt idx="164" formatCode="General">
                  <c:v>116</c:v>
                </c:pt>
                <c:pt idx="165" formatCode="General">
                  <c:v>116</c:v>
                </c:pt>
                <c:pt idx="166" formatCode="General">
                  <c:v>81</c:v>
                </c:pt>
                <c:pt idx="167" formatCode="General">
                  <c:v>68</c:v>
                </c:pt>
                <c:pt idx="168" formatCode="General">
                  <c:v>83</c:v>
                </c:pt>
                <c:pt idx="169" formatCode="General">
                  <c:v>32</c:v>
                </c:pt>
                <c:pt idx="170" formatCode="General">
                  <c:v>23</c:v>
                </c:pt>
                <c:pt idx="171" formatCode="General">
                  <c:v>132</c:v>
                </c:pt>
                <c:pt idx="172" formatCode="General">
                  <c:v>86</c:v>
                </c:pt>
                <c:pt idx="173" formatCode="General">
                  <c:v>66</c:v>
                </c:pt>
                <c:pt idx="174" formatCode="General">
                  <c:v>67</c:v>
                </c:pt>
                <c:pt idx="175" formatCode="General">
                  <c:v>56</c:v>
                </c:pt>
                <c:pt idx="176" formatCode="General">
                  <c:v>36</c:v>
                </c:pt>
                <c:pt idx="177" formatCode="General">
                  <c:v>26</c:v>
                </c:pt>
                <c:pt idx="178" formatCode="General">
                  <c:v>74</c:v>
                </c:pt>
                <c:pt idx="179" formatCode="General">
                  <c:v>109</c:v>
                </c:pt>
                <c:pt idx="180" formatCode="General">
                  <c:v>78</c:v>
                </c:pt>
                <c:pt idx="181" formatCode="General">
                  <c:v>55</c:v>
                </c:pt>
                <c:pt idx="182" formatCode="General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2B-4678-9FFD-46841F3CB3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  <c:majorUnit val="7"/>
        <c:majorTimeUnit val="days"/>
      </c:dateAx>
      <c:valAx>
        <c:axId val="533925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529925759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1.7338673528478215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00B0F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2:$BB$2</c:f>
              <c:numCache>
                <c:formatCode>General</c:formatCode>
                <c:ptCount val="53"/>
                <c:pt idx="35">
                  <c:v>0.27854180000000001</c:v>
                </c:pt>
                <c:pt idx="36">
                  <c:v>0.83562550000000002</c:v>
                </c:pt>
                <c:pt idx="37">
                  <c:v>1.2534381999999999</c:v>
                </c:pt>
                <c:pt idx="38">
                  <c:v>2.9246892</c:v>
                </c:pt>
                <c:pt idx="39">
                  <c:v>9.3311513999999995</c:v>
                </c:pt>
                <c:pt idx="40">
                  <c:v>52.783677400000002</c:v>
                </c:pt>
                <c:pt idx="41">
                  <c:v>110.1632951</c:v>
                </c:pt>
                <c:pt idx="42">
                  <c:v>174.5064586</c:v>
                </c:pt>
                <c:pt idx="43">
                  <c:v>250.826921</c:v>
                </c:pt>
                <c:pt idx="44">
                  <c:v>283.4163155</c:v>
                </c:pt>
                <c:pt idx="45">
                  <c:v>194.8400125</c:v>
                </c:pt>
                <c:pt idx="46">
                  <c:v>136.20695649999999</c:v>
                </c:pt>
                <c:pt idx="47">
                  <c:v>94.147139699999997</c:v>
                </c:pt>
                <c:pt idx="48">
                  <c:v>63.646808900000003</c:v>
                </c:pt>
                <c:pt idx="49">
                  <c:v>68.382020100000005</c:v>
                </c:pt>
                <c:pt idx="50">
                  <c:v>68.242749200000006</c:v>
                </c:pt>
                <c:pt idx="51">
                  <c:v>84.9552592</c:v>
                </c:pt>
                <c:pt idx="52">
                  <c:v>89.4119285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5E-407A-AC1D-1838C2884016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3:$BB$3</c:f>
              <c:numCache>
                <c:formatCode>General</c:formatCode>
                <c:ptCount val="53"/>
                <c:pt idx="0">
                  <c:v>32.171581699999997</c:v>
                </c:pt>
                <c:pt idx="1">
                  <c:v>126.0401796</c:v>
                </c:pt>
                <c:pt idx="2">
                  <c:v>93.311514200000005</c:v>
                </c:pt>
                <c:pt idx="3">
                  <c:v>69.356916499999997</c:v>
                </c:pt>
                <c:pt idx="4">
                  <c:v>49.441175399999999</c:v>
                </c:pt>
                <c:pt idx="5">
                  <c:v>49.998259099999999</c:v>
                </c:pt>
                <c:pt idx="6">
                  <c:v>33.842832700000002</c:v>
                </c:pt>
                <c:pt idx="7">
                  <c:v>33.425020000000004</c:v>
                </c:pt>
                <c:pt idx="8">
                  <c:v>36.883581100000001</c:v>
                </c:pt>
                <c:pt idx="9">
                  <c:v>38.299502099999998</c:v>
                </c:pt>
                <c:pt idx="10">
                  <c:v>31.196685299999999</c:v>
                </c:pt>
                <c:pt idx="11">
                  <c:v>20.7513665</c:v>
                </c:pt>
                <c:pt idx="12">
                  <c:v>14.7627171</c:v>
                </c:pt>
                <c:pt idx="13">
                  <c:v>12.673653399999999</c:v>
                </c:pt>
                <c:pt idx="14">
                  <c:v>10.4453187</c:v>
                </c:pt>
                <c:pt idx="15">
                  <c:v>5.8493785000000003</c:v>
                </c:pt>
                <c:pt idx="16">
                  <c:v>5.1530239</c:v>
                </c:pt>
                <c:pt idx="17">
                  <c:v>3.7603146999999999</c:v>
                </c:pt>
                <c:pt idx="18">
                  <c:v>2.5068765000000002</c:v>
                </c:pt>
                <c:pt idx="19">
                  <c:v>1.671251</c:v>
                </c:pt>
                <c:pt idx="20">
                  <c:v>2.2283346000000002</c:v>
                </c:pt>
                <c:pt idx="21">
                  <c:v>0.9748964</c:v>
                </c:pt>
                <c:pt idx="22">
                  <c:v>0.2785418000000000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392709</c:v>
                </c:pt>
                <c:pt idx="27">
                  <c:v>0.27854180000000001</c:v>
                </c:pt>
                <c:pt idx="28">
                  <c:v>0.1392709</c:v>
                </c:pt>
                <c:pt idx="29">
                  <c:v>0.1392709</c:v>
                </c:pt>
                <c:pt idx="30">
                  <c:v>0.41781269999999998</c:v>
                </c:pt>
                <c:pt idx="31">
                  <c:v>0</c:v>
                </c:pt>
                <c:pt idx="32">
                  <c:v>0.27854180000000001</c:v>
                </c:pt>
                <c:pt idx="33">
                  <c:v>0</c:v>
                </c:pt>
                <c:pt idx="34">
                  <c:v>0.27854180000000001</c:v>
                </c:pt>
                <c:pt idx="35">
                  <c:v>1.1141673000000001</c:v>
                </c:pt>
                <c:pt idx="36">
                  <c:v>0.83562550000000002</c:v>
                </c:pt>
                <c:pt idx="37">
                  <c:v>0.41781269999999998</c:v>
                </c:pt>
                <c:pt idx="38">
                  <c:v>1.5319799999999999</c:v>
                </c:pt>
                <c:pt idx="39">
                  <c:v>2.6461473999999998</c:v>
                </c:pt>
                <c:pt idx="40">
                  <c:v>1.9497928</c:v>
                </c:pt>
                <c:pt idx="41">
                  <c:v>1.671251</c:v>
                </c:pt>
                <c:pt idx="42">
                  <c:v>6.6850040000000002</c:v>
                </c:pt>
                <c:pt idx="43">
                  <c:v>8.6347968000000002</c:v>
                </c:pt>
                <c:pt idx="44">
                  <c:v>18.105219099999999</c:v>
                </c:pt>
                <c:pt idx="45">
                  <c:v>27.0185578</c:v>
                </c:pt>
                <c:pt idx="46">
                  <c:v>30.082518</c:v>
                </c:pt>
                <c:pt idx="47">
                  <c:v>40.110024000000003</c:v>
                </c:pt>
                <c:pt idx="48">
                  <c:v>34.539187300000002</c:v>
                </c:pt>
                <c:pt idx="49">
                  <c:v>28.968350600000001</c:v>
                </c:pt>
                <c:pt idx="50">
                  <c:v>21.586991999999999</c:v>
                </c:pt>
                <c:pt idx="51">
                  <c:v>11.9772988</c:v>
                </c:pt>
                <c:pt idx="52">
                  <c:v>8.4955259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5E-407A-AC1D-1838C2884016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flat">
              <a:solidFill>
                <a:srgbClr val="FFC000"/>
              </a:solidFill>
              <a:prstDash val="solid"/>
              <a:round/>
              <a:headEnd type="none"/>
            </a:ln>
            <a:effectLst/>
          </c:spPr>
          <c:marker>
            <c:symbol val="none"/>
          </c:marker>
          <c:cat>
            <c:strRef>
              <c:f>List1!$B$1:$BB$1</c:f>
              <c:strCache>
                <c:ptCount val="53"/>
                <c:pt idx="0">
                  <c:v>01.01 - 01.01</c:v>
                </c:pt>
                <c:pt idx="1">
                  <c:v>02.01 - 08.01</c:v>
                </c:pt>
                <c:pt idx="2">
                  <c:v>09.01 - 15.01</c:v>
                </c:pt>
                <c:pt idx="3">
                  <c:v>16.01 - 22.01</c:v>
                </c:pt>
                <c:pt idx="4">
                  <c:v>23.01 - 29.01</c:v>
                </c:pt>
                <c:pt idx="5">
                  <c:v>30.01 - 05.02</c:v>
                </c:pt>
                <c:pt idx="6">
                  <c:v>06.02 - 12.02</c:v>
                </c:pt>
                <c:pt idx="7">
                  <c:v>13.02 - 19.02</c:v>
                </c:pt>
                <c:pt idx="8">
                  <c:v>20.02 - 25.02</c:v>
                </c:pt>
                <c:pt idx="9">
                  <c:v>26.02 - 04.03</c:v>
                </c:pt>
                <c:pt idx="10">
                  <c:v>05.03 - 11.03</c:v>
                </c:pt>
                <c:pt idx="11">
                  <c:v>12.03 - 18.03</c:v>
                </c:pt>
                <c:pt idx="12">
                  <c:v>19.03 - 25.03</c:v>
                </c:pt>
                <c:pt idx="13">
                  <c:v>26.03 - 01.04</c:v>
                </c:pt>
                <c:pt idx="14">
                  <c:v>02.04 - 08.04</c:v>
                </c:pt>
                <c:pt idx="15">
                  <c:v>09.04 - 15.04</c:v>
                </c:pt>
                <c:pt idx="16">
                  <c:v>16.04 - 22.04</c:v>
                </c:pt>
                <c:pt idx="17">
                  <c:v>23.04 - 29.04</c:v>
                </c:pt>
                <c:pt idx="18">
                  <c:v>30.04 - 06.05</c:v>
                </c:pt>
                <c:pt idx="19">
                  <c:v>07.05 - 13.05</c:v>
                </c:pt>
                <c:pt idx="20">
                  <c:v>14.05 - 20.05</c:v>
                </c:pt>
                <c:pt idx="21">
                  <c:v>21.05 - 27.05</c:v>
                </c:pt>
                <c:pt idx="22">
                  <c:v>28.05 - 03.06</c:v>
                </c:pt>
                <c:pt idx="23">
                  <c:v>04.06 - 10.06</c:v>
                </c:pt>
                <c:pt idx="24">
                  <c:v>11.06 - 17.06</c:v>
                </c:pt>
                <c:pt idx="25">
                  <c:v>18.06 - 24.06</c:v>
                </c:pt>
                <c:pt idx="26">
                  <c:v>25.06 - 01.07</c:v>
                </c:pt>
                <c:pt idx="27">
                  <c:v>02.07 - 08.07</c:v>
                </c:pt>
                <c:pt idx="28">
                  <c:v>09.07 - 15.07</c:v>
                </c:pt>
                <c:pt idx="29">
                  <c:v>16.07 - 22.07</c:v>
                </c:pt>
                <c:pt idx="30">
                  <c:v>23.07 - 29.07</c:v>
                </c:pt>
                <c:pt idx="31">
                  <c:v>30.07 - 05.08</c:v>
                </c:pt>
                <c:pt idx="32">
                  <c:v>06.08 - 12.08</c:v>
                </c:pt>
                <c:pt idx="33">
                  <c:v>13.08 - 19.08</c:v>
                </c:pt>
                <c:pt idx="34">
                  <c:v>20.08 - 26.08</c:v>
                </c:pt>
                <c:pt idx="35">
                  <c:v>27.08 - 02.09</c:v>
                </c:pt>
                <c:pt idx="36">
                  <c:v>03.09 - 09.09</c:v>
                </c:pt>
                <c:pt idx="37">
                  <c:v>10.09 - 16.09</c:v>
                </c:pt>
                <c:pt idx="38">
                  <c:v>17.09 - 23.09</c:v>
                </c:pt>
                <c:pt idx="39">
                  <c:v>24.09 - 30.09</c:v>
                </c:pt>
                <c:pt idx="40">
                  <c:v>01.10 - 07.10</c:v>
                </c:pt>
                <c:pt idx="41">
                  <c:v>08.10 - 14.10</c:v>
                </c:pt>
                <c:pt idx="42">
                  <c:v>15.10 - 21.10</c:v>
                </c:pt>
                <c:pt idx="43">
                  <c:v>22.10 - 28.10</c:v>
                </c:pt>
                <c:pt idx="44">
                  <c:v>29.10 - 04.11</c:v>
                </c:pt>
                <c:pt idx="45">
                  <c:v>05.11 - 11.11</c:v>
                </c:pt>
                <c:pt idx="46">
                  <c:v>12.11 - 18.11</c:v>
                </c:pt>
                <c:pt idx="47">
                  <c:v>19.11 - 25.11</c:v>
                </c:pt>
                <c:pt idx="48">
                  <c:v>26.11 - 02.12</c:v>
                </c:pt>
                <c:pt idx="49">
                  <c:v>03.12 - 09.12</c:v>
                </c:pt>
                <c:pt idx="50">
                  <c:v>10.12 - 16.12</c:v>
                </c:pt>
                <c:pt idx="51">
                  <c:v>17.12 - 23.12</c:v>
                </c:pt>
                <c:pt idx="52">
                  <c:v>24.12 - 30.12</c:v>
                </c:pt>
              </c:strCache>
            </c:strRef>
          </c:cat>
          <c:val>
            <c:numRef>
              <c:f>List1!$B$4:$BB$4</c:f>
              <c:numCache>
                <c:formatCode>General</c:formatCode>
                <c:ptCount val="53"/>
                <c:pt idx="0">
                  <c:v>0</c:v>
                </c:pt>
                <c:pt idx="1">
                  <c:v>9.1918804999999999</c:v>
                </c:pt>
                <c:pt idx="2">
                  <c:v>10.027506000000001</c:v>
                </c:pt>
                <c:pt idx="3">
                  <c:v>37.324605599999998</c:v>
                </c:pt>
                <c:pt idx="4">
                  <c:v>65.735872700000002</c:v>
                </c:pt>
                <c:pt idx="5">
                  <c:v>73.535043999999999</c:v>
                </c:pt>
                <c:pt idx="6">
                  <c:v>63.646808900000003</c:v>
                </c:pt>
                <c:pt idx="7">
                  <c:v>52.0873228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5E-407A-AC1D-1838C28840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596356464825076"/>
          <c:y val="0.27782564669163051"/>
          <c:w val="7.847404993676986E-2"/>
          <c:h val="0.16275051734771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Liberecký kraj</c:v>
                </c:pt>
                <c:pt idx="2">
                  <c:v>Královéhradecký kraj</c:v>
                </c:pt>
                <c:pt idx="3">
                  <c:v>Kraj Vysočina</c:v>
                </c:pt>
                <c:pt idx="4">
                  <c:v>Středočeský kraj</c:v>
                </c:pt>
                <c:pt idx="5">
                  <c:v>Jihočeský kraj</c:v>
                </c:pt>
                <c:pt idx="6">
                  <c:v>Pardubický kraj</c:v>
                </c:pt>
                <c:pt idx="7">
                  <c:v>Ústecký kraj</c:v>
                </c:pt>
                <c:pt idx="8">
                  <c:v>Hlavní město Praha</c:v>
                </c:pt>
                <c:pt idx="9">
                  <c:v>ČR</c:v>
                </c:pt>
                <c:pt idx="10">
                  <c:v>Olomoucký kraj</c:v>
                </c:pt>
                <c:pt idx="11">
                  <c:v>Zlínský kraj</c:v>
                </c:pt>
                <c:pt idx="12">
                  <c:v>Jihomoravs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3.652500000000003</c:v>
                </c:pt>
                <c:pt idx="1">
                  <c:v>90.461299999999994</c:v>
                </c:pt>
                <c:pt idx="2">
                  <c:v>90.216840000000005</c:v>
                </c:pt>
                <c:pt idx="3">
                  <c:v>90.120660000000001</c:v>
                </c:pt>
                <c:pt idx="4">
                  <c:v>90.026480000000006</c:v>
                </c:pt>
                <c:pt idx="5">
                  <c:v>89.646829999999994</c:v>
                </c:pt>
                <c:pt idx="6">
                  <c:v>89.193190000000001</c:v>
                </c:pt>
                <c:pt idx="7">
                  <c:v>89.086539999999999</c:v>
                </c:pt>
                <c:pt idx="8">
                  <c:v>88.966899999999995</c:v>
                </c:pt>
                <c:pt idx="9">
                  <c:v>88.01097</c:v>
                </c:pt>
                <c:pt idx="10">
                  <c:v>87.272729999999996</c:v>
                </c:pt>
                <c:pt idx="11">
                  <c:v>85.278859999999995</c:v>
                </c:pt>
                <c:pt idx="12">
                  <c:v>84.988709999999998</c:v>
                </c:pt>
                <c:pt idx="13">
                  <c:v>84.386899999999997</c:v>
                </c:pt>
                <c:pt idx="14">
                  <c:v>84.1958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Středočeský kraj</c:v>
                </c:pt>
                <c:pt idx="3">
                  <c:v>Kraj Vysočina</c:v>
                </c:pt>
                <c:pt idx="4">
                  <c:v>Královéhradecký kraj</c:v>
                </c:pt>
                <c:pt idx="5">
                  <c:v>Hlavní město Praha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Liberecký kraj</c:v>
                </c:pt>
                <c:pt idx="9">
                  <c:v>ČR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Zlín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8.582939999999994</c:v>
                </c:pt>
                <c:pt idx="1">
                  <c:v>88.31241</c:v>
                </c:pt>
                <c:pt idx="2">
                  <c:v>87.855249999999998</c:v>
                </c:pt>
                <c:pt idx="3">
                  <c:v>87.5</c:v>
                </c:pt>
                <c:pt idx="4">
                  <c:v>86.474779999999996</c:v>
                </c:pt>
                <c:pt idx="5">
                  <c:v>86.277590000000004</c:v>
                </c:pt>
                <c:pt idx="6">
                  <c:v>85.182630000000003</c:v>
                </c:pt>
                <c:pt idx="7">
                  <c:v>84.665450000000007</c:v>
                </c:pt>
                <c:pt idx="8">
                  <c:v>84.509529999999998</c:v>
                </c:pt>
                <c:pt idx="9">
                  <c:v>84.228650000000002</c:v>
                </c:pt>
                <c:pt idx="10">
                  <c:v>83.369479999999996</c:v>
                </c:pt>
                <c:pt idx="11">
                  <c:v>81.497479999999996</c:v>
                </c:pt>
                <c:pt idx="12">
                  <c:v>79.307329999999993</c:v>
                </c:pt>
                <c:pt idx="13">
                  <c:v>79.281829999999999</c:v>
                </c:pt>
                <c:pt idx="14">
                  <c:v>77.94988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22 Psycholog ve zdravotnictví</c:v>
                </c:pt>
                <c:pt idx="14">
                  <c:v>§ 17 Dentální hygienistka</c:v>
                </c:pt>
                <c:pt idx="15">
                  <c:v>§ 37 Masér ve zdravotnictví, nevidomý a slabozraký masér ve zdravotnictví</c:v>
                </c:pt>
                <c:pt idx="16">
                  <c:v>§ 15 Nutriční terapeut</c:v>
                </c:pt>
                <c:pt idx="17">
                  <c:v>§ 7 Ergoterapeut</c:v>
                </c:pt>
                <c:pt idx="18">
                  <c:v>§ 11 Optometrista</c:v>
                </c:pt>
                <c:pt idx="19">
                  <c:v>§ 23 Logoped ve zdravotnictví</c:v>
                </c:pt>
                <c:pt idx="20">
                  <c:v>§ 10 Zdravotně-sociální pracovník</c:v>
                </c:pt>
                <c:pt idx="21">
                  <c:v>§ 30 Laboratorní asistent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25 Radiologický fyzik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41 Autoptický laborant</c:v>
                </c:pt>
                <c:pt idx="34">
                  <c:v>§ 21 Radiologický technik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5641</c:v>
                </c:pt>
                <c:pt idx="1">
                  <c:v>2712</c:v>
                </c:pt>
                <c:pt idx="2">
                  <c:v>2184</c:v>
                </c:pt>
                <c:pt idx="3">
                  <c:v>2011</c:v>
                </c:pt>
                <c:pt idx="4">
                  <c:v>1774</c:v>
                </c:pt>
                <c:pt idx="5">
                  <c:v>1239</c:v>
                </c:pt>
                <c:pt idx="6">
                  <c:v>1063</c:v>
                </c:pt>
                <c:pt idx="7">
                  <c:v>1003</c:v>
                </c:pt>
                <c:pt idx="8">
                  <c:v>814</c:v>
                </c:pt>
                <c:pt idx="9">
                  <c:v>805</c:v>
                </c:pt>
                <c:pt idx="10">
                  <c:v>686</c:v>
                </c:pt>
                <c:pt idx="11">
                  <c:v>530</c:v>
                </c:pt>
                <c:pt idx="12">
                  <c:v>423</c:v>
                </c:pt>
                <c:pt idx="13">
                  <c:v>413</c:v>
                </c:pt>
                <c:pt idx="14">
                  <c:v>390</c:v>
                </c:pt>
                <c:pt idx="15">
                  <c:v>285</c:v>
                </c:pt>
                <c:pt idx="16">
                  <c:v>243</c:v>
                </c:pt>
                <c:pt idx="17">
                  <c:v>240</c:v>
                </c:pt>
                <c:pt idx="18">
                  <c:v>237</c:v>
                </c:pt>
                <c:pt idx="19">
                  <c:v>217</c:v>
                </c:pt>
                <c:pt idx="20">
                  <c:v>213</c:v>
                </c:pt>
                <c:pt idx="21">
                  <c:v>213</c:v>
                </c:pt>
                <c:pt idx="22">
                  <c:v>102</c:v>
                </c:pt>
                <c:pt idx="23">
                  <c:v>70</c:v>
                </c:pt>
                <c:pt idx="24">
                  <c:v>57</c:v>
                </c:pt>
                <c:pt idx="25">
                  <c:v>56</c:v>
                </c:pt>
                <c:pt idx="26">
                  <c:v>42</c:v>
                </c:pt>
                <c:pt idx="27">
                  <c:v>39</c:v>
                </c:pt>
                <c:pt idx="28">
                  <c:v>31</c:v>
                </c:pt>
                <c:pt idx="29">
                  <c:v>23</c:v>
                </c:pt>
                <c:pt idx="30">
                  <c:v>18</c:v>
                </c:pt>
                <c:pt idx="31">
                  <c:v>13</c:v>
                </c:pt>
                <c:pt idx="32">
                  <c:v>12</c:v>
                </c:pt>
                <c:pt idx="33">
                  <c:v>5</c:v>
                </c:pt>
                <c:pt idx="34">
                  <c:v>4</c:v>
                </c:pt>
                <c:pt idx="3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9 Zdravotní laborant</c:v>
                </c:pt>
                <c:pt idx="4">
                  <c:v>§ 19 Farmaceutický asiste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40 Řidič zdravotnické dopravní služby</c:v>
                </c:pt>
                <c:pt idx="12">
                  <c:v>§ 22 Psycholog ve zdravotnictví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7 Ergoterapeut</c:v>
                </c:pt>
                <c:pt idx="16">
                  <c:v>§ 37 Masér ve zdravotnictví, nevidomý a slabozraký masér ve zdravotnictví</c:v>
                </c:pt>
                <c:pt idx="17">
                  <c:v>§ 23 Logoped ve zdravotnictví</c:v>
                </c:pt>
                <c:pt idx="18">
                  <c:v>§ 15 Nutriční terapeut</c:v>
                </c:pt>
                <c:pt idx="19">
                  <c:v>§ 30 Laboratorní asistent</c:v>
                </c:pt>
                <c:pt idx="20">
                  <c:v>§ 11 Optometrista</c:v>
                </c:pt>
                <c:pt idx="21">
                  <c:v>§ 10 Zdravotně-sociální pracovník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1a Adiktolog</c:v>
                </c:pt>
                <c:pt idx="25">
                  <c:v>§ 28 Odborný pracovník v ochraně a podpoře veřejného zdraví</c:v>
                </c:pt>
                <c:pt idx="26">
                  <c:v>§ 25 Radiologický fyzik</c:v>
                </c:pt>
                <c:pt idx="27">
                  <c:v>§ 13 Asistent ochrany a podpory veřejného zdraví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41 Autoptický laborant</c:v>
                </c:pt>
                <c:pt idx="34">
                  <c:v>§ 21 Radiologický technik</c:v>
                </c:pt>
                <c:pt idx="35">
                  <c:v>§ 23a Zrakový terapeu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3220</c:v>
                </c:pt>
                <c:pt idx="1">
                  <c:v>1782</c:v>
                </c:pt>
                <c:pt idx="2">
                  <c:v>1397</c:v>
                </c:pt>
                <c:pt idx="3">
                  <c:v>1370</c:v>
                </c:pt>
                <c:pt idx="4">
                  <c:v>1114</c:v>
                </c:pt>
                <c:pt idx="5">
                  <c:v>697</c:v>
                </c:pt>
                <c:pt idx="6">
                  <c:v>685</c:v>
                </c:pt>
                <c:pt idx="7">
                  <c:v>654</c:v>
                </c:pt>
                <c:pt idx="8">
                  <c:v>583</c:v>
                </c:pt>
                <c:pt idx="9">
                  <c:v>514</c:v>
                </c:pt>
                <c:pt idx="10">
                  <c:v>424</c:v>
                </c:pt>
                <c:pt idx="11">
                  <c:v>315</c:v>
                </c:pt>
                <c:pt idx="12">
                  <c:v>304</c:v>
                </c:pt>
                <c:pt idx="13">
                  <c:v>260</c:v>
                </c:pt>
                <c:pt idx="14">
                  <c:v>243</c:v>
                </c:pt>
                <c:pt idx="15">
                  <c:v>166</c:v>
                </c:pt>
                <c:pt idx="16">
                  <c:v>165</c:v>
                </c:pt>
                <c:pt idx="17">
                  <c:v>159</c:v>
                </c:pt>
                <c:pt idx="18">
                  <c:v>157</c:v>
                </c:pt>
                <c:pt idx="19">
                  <c:v>146</c:v>
                </c:pt>
                <c:pt idx="20">
                  <c:v>143</c:v>
                </c:pt>
                <c:pt idx="21">
                  <c:v>132</c:v>
                </c:pt>
                <c:pt idx="22">
                  <c:v>67</c:v>
                </c:pt>
                <c:pt idx="23">
                  <c:v>45</c:v>
                </c:pt>
                <c:pt idx="24">
                  <c:v>38</c:v>
                </c:pt>
                <c:pt idx="25">
                  <c:v>38</c:v>
                </c:pt>
                <c:pt idx="26">
                  <c:v>34</c:v>
                </c:pt>
                <c:pt idx="27">
                  <c:v>30</c:v>
                </c:pt>
                <c:pt idx="28">
                  <c:v>19</c:v>
                </c:pt>
                <c:pt idx="29">
                  <c:v>15</c:v>
                </c:pt>
                <c:pt idx="30">
                  <c:v>12</c:v>
                </c:pt>
                <c:pt idx="31">
                  <c:v>6</c:v>
                </c:pt>
                <c:pt idx="32">
                  <c:v>6</c:v>
                </c:pt>
                <c:pt idx="33">
                  <c:v>4</c:v>
                </c:pt>
                <c:pt idx="34">
                  <c:v>3</c:v>
                </c:pt>
                <c:pt idx="3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7</c:f>
              <c:strCache>
                <c:ptCount val="36"/>
                <c:pt idx="0">
                  <c:v>§ 42 Sanitář</c:v>
                </c:pt>
                <c:pt idx="1">
                  <c:v>§ 24 Fyzioterapeut</c:v>
                </c:pt>
                <c:pt idx="2">
                  <c:v>§ 9 Zdravotní laborant</c:v>
                </c:pt>
                <c:pt idx="3">
                  <c:v>farmaceut</c:v>
                </c:pt>
                <c:pt idx="4">
                  <c:v>§ 19 Farmaceutický asistent</c:v>
                </c:pt>
                <c:pt idx="5">
                  <c:v>§ 18 Zdravotnický záchranář</c:v>
                </c:pt>
                <c:pt idx="6">
                  <c:v>§ 36 Ošetřovatel</c:v>
                </c:pt>
                <c:pt idx="7">
                  <c:v>§ 39 Zubní instrumentářka</c:v>
                </c:pt>
                <c:pt idx="8">
                  <c:v>§ 26 Odborný pracovník v laboratorních metodách a v přípravě léčivých přípravků</c:v>
                </c:pt>
                <c:pt idx="9">
                  <c:v>§ 8 Radiologický asistent</c:v>
                </c:pt>
                <c:pt idx="10">
                  <c:v>§ 16 Zubní technik</c:v>
                </c:pt>
                <c:pt idx="11">
                  <c:v>§ 22 Psycholog ve zdravotnictví</c:v>
                </c:pt>
                <c:pt idx="12">
                  <c:v>§ 40 Řidič zdravotnické dopravní služby</c:v>
                </c:pt>
                <c:pt idx="13">
                  <c:v>§ 17 Dentální hygienistka</c:v>
                </c:pt>
                <c:pt idx="14">
                  <c:v>§ 35 Řidič vozidla zdravotnické záchranné služby</c:v>
                </c:pt>
                <c:pt idx="15">
                  <c:v>§ 7 Ergoterapeut</c:v>
                </c:pt>
                <c:pt idx="16">
                  <c:v>§ 30 Laboratorní asistent</c:v>
                </c:pt>
                <c:pt idx="17">
                  <c:v>§ 23 Logoped ve zdravotnictví</c:v>
                </c:pt>
                <c:pt idx="18">
                  <c:v>§ 15 Nutriční terapeut</c:v>
                </c:pt>
                <c:pt idx="19">
                  <c:v>§ 37 Masér ve zdravotnictví, nevidomý a slabozraký masér ve zdravotnictví</c:v>
                </c:pt>
                <c:pt idx="20">
                  <c:v>§ 10 Zdravotně-sociální pracovník</c:v>
                </c:pt>
                <c:pt idx="21">
                  <c:v>§ 11 Optometrista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5 Radiologický fyzik</c:v>
                </c:pt>
                <c:pt idx="26">
                  <c:v>§ 13 Asistent ochrany a podpory veřejného zdraví</c:v>
                </c:pt>
                <c:pt idx="27">
                  <c:v>§ 21a Adiktolog</c:v>
                </c:pt>
                <c:pt idx="28">
                  <c:v>§ 14 Ortotik-protetik</c:v>
                </c:pt>
                <c:pt idx="29">
                  <c:v>§ 20 Biomedicínský technik</c:v>
                </c:pt>
                <c:pt idx="30">
                  <c:v>§ 12 Ortoptista</c:v>
                </c:pt>
                <c:pt idx="31">
                  <c:v>§ 31 Ortoticko-protetický technik</c:v>
                </c:pt>
                <c:pt idx="32">
                  <c:v>§ 32 Nutriční asistent</c:v>
                </c:pt>
                <c:pt idx="33">
                  <c:v>§ 21 Radiologický technik</c:v>
                </c:pt>
                <c:pt idx="34">
                  <c:v>§ 23a Zrakový terapeut</c:v>
                </c:pt>
                <c:pt idx="35">
                  <c:v>§ 41 Autoptický laborant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1947</c:v>
                </c:pt>
                <c:pt idx="1">
                  <c:v>1048</c:v>
                </c:pt>
                <c:pt idx="2">
                  <c:v>812</c:v>
                </c:pt>
                <c:pt idx="3">
                  <c:v>773</c:v>
                </c:pt>
                <c:pt idx="4">
                  <c:v>628</c:v>
                </c:pt>
                <c:pt idx="5">
                  <c:v>436</c:v>
                </c:pt>
                <c:pt idx="6">
                  <c:v>399</c:v>
                </c:pt>
                <c:pt idx="7">
                  <c:v>383</c:v>
                </c:pt>
                <c:pt idx="8">
                  <c:v>356</c:v>
                </c:pt>
                <c:pt idx="9">
                  <c:v>319</c:v>
                </c:pt>
                <c:pt idx="10">
                  <c:v>244</c:v>
                </c:pt>
                <c:pt idx="11">
                  <c:v>208</c:v>
                </c:pt>
                <c:pt idx="12">
                  <c:v>183</c:v>
                </c:pt>
                <c:pt idx="13">
                  <c:v>162</c:v>
                </c:pt>
                <c:pt idx="14">
                  <c:v>151</c:v>
                </c:pt>
                <c:pt idx="15">
                  <c:v>104</c:v>
                </c:pt>
                <c:pt idx="16">
                  <c:v>99</c:v>
                </c:pt>
                <c:pt idx="17">
                  <c:v>87</c:v>
                </c:pt>
                <c:pt idx="18">
                  <c:v>86</c:v>
                </c:pt>
                <c:pt idx="19">
                  <c:v>85</c:v>
                </c:pt>
                <c:pt idx="20">
                  <c:v>80</c:v>
                </c:pt>
                <c:pt idx="21">
                  <c:v>78</c:v>
                </c:pt>
                <c:pt idx="22">
                  <c:v>36</c:v>
                </c:pt>
                <c:pt idx="23">
                  <c:v>26</c:v>
                </c:pt>
                <c:pt idx="24">
                  <c:v>25</c:v>
                </c:pt>
                <c:pt idx="25">
                  <c:v>22</c:v>
                </c:pt>
                <c:pt idx="26">
                  <c:v>21</c:v>
                </c:pt>
                <c:pt idx="27">
                  <c:v>21</c:v>
                </c:pt>
                <c:pt idx="28">
                  <c:v>13</c:v>
                </c:pt>
                <c:pt idx="29">
                  <c:v>10</c:v>
                </c:pt>
                <c:pt idx="30">
                  <c:v>7</c:v>
                </c:pt>
                <c:pt idx="31">
                  <c:v>5</c:v>
                </c:pt>
                <c:pt idx="32">
                  <c:v>3</c:v>
                </c:pt>
                <c:pt idx="33">
                  <c:v>2</c:v>
                </c:pt>
                <c:pt idx="34">
                  <c:v>1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32511328268768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0.08.21</c:v>
                </c:pt>
                <c:pt idx="1">
                  <c:v>21.08.21</c:v>
                </c:pt>
                <c:pt idx="2">
                  <c:v>22.08.21</c:v>
                </c:pt>
                <c:pt idx="3">
                  <c:v>23.08.21</c:v>
                </c:pt>
                <c:pt idx="4">
                  <c:v>24.08.21</c:v>
                </c:pt>
                <c:pt idx="5">
                  <c:v>25.08.21</c:v>
                </c:pt>
                <c:pt idx="6">
                  <c:v>26.08.21</c:v>
                </c:pt>
                <c:pt idx="7">
                  <c:v>27.08.21</c:v>
                </c:pt>
                <c:pt idx="8">
                  <c:v>28.08.21</c:v>
                </c:pt>
                <c:pt idx="9">
                  <c:v>29.08.21</c:v>
                </c:pt>
                <c:pt idx="10">
                  <c:v>30.08.21</c:v>
                </c:pt>
                <c:pt idx="11">
                  <c:v>31.08.21</c:v>
                </c:pt>
                <c:pt idx="12">
                  <c:v>01.09.21</c:v>
                </c:pt>
                <c:pt idx="13">
                  <c:v>02.09.21</c:v>
                </c:pt>
                <c:pt idx="14">
                  <c:v>03.09.21</c:v>
                </c:pt>
                <c:pt idx="15">
                  <c:v>04.09.21</c:v>
                </c:pt>
                <c:pt idx="16">
                  <c:v>05.09.21</c:v>
                </c:pt>
                <c:pt idx="17">
                  <c:v>06.09.21</c:v>
                </c:pt>
                <c:pt idx="18">
                  <c:v>07.09.21</c:v>
                </c:pt>
                <c:pt idx="19">
                  <c:v>08.09.21</c:v>
                </c:pt>
                <c:pt idx="20">
                  <c:v>09.09.21</c:v>
                </c:pt>
                <c:pt idx="21">
                  <c:v>10.09.21</c:v>
                </c:pt>
                <c:pt idx="22">
                  <c:v>11.09.21</c:v>
                </c:pt>
                <c:pt idx="23">
                  <c:v>12.09.21</c:v>
                </c:pt>
                <c:pt idx="24">
                  <c:v>13.09.21</c:v>
                </c:pt>
                <c:pt idx="25">
                  <c:v>14.09.21</c:v>
                </c:pt>
                <c:pt idx="26">
                  <c:v>15.09.21</c:v>
                </c:pt>
                <c:pt idx="27">
                  <c:v>16.09.21</c:v>
                </c:pt>
                <c:pt idx="28">
                  <c:v>17.09.21</c:v>
                </c:pt>
                <c:pt idx="29">
                  <c:v>18.09.21</c:v>
                </c:pt>
                <c:pt idx="30">
                  <c:v>19.09.21</c:v>
                </c:pt>
                <c:pt idx="31">
                  <c:v>20.09.21</c:v>
                </c:pt>
                <c:pt idx="32">
                  <c:v>21.09.21</c:v>
                </c:pt>
                <c:pt idx="33">
                  <c:v>22.09.21</c:v>
                </c:pt>
                <c:pt idx="34">
                  <c:v>23.09.21</c:v>
                </c:pt>
                <c:pt idx="35">
                  <c:v>24.09.21</c:v>
                </c:pt>
                <c:pt idx="36">
                  <c:v>25.09.21</c:v>
                </c:pt>
                <c:pt idx="37">
                  <c:v>26.09.21</c:v>
                </c:pt>
                <c:pt idx="38">
                  <c:v>27.09.21</c:v>
                </c:pt>
                <c:pt idx="39">
                  <c:v>28.09.21</c:v>
                </c:pt>
                <c:pt idx="40">
                  <c:v>29.09.21</c:v>
                </c:pt>
                <c:pt idx="41">
                  <c:v>30.09.21</c:v>
                </c:pt>
                <c:pt idx="42">
                  <c:v>01.10.21</c:v>
                </c:pt>
                <c:pt idx="43">
                  <c:v>02.10.21</c:v>
                </c:pt>
                <c:pt idx="44">
                  <c:v>03.10.21</c:v>
                </c:pt>
                <c:pt idx="45">
                  <c:v>04.10.21</c:v>
                </c:pt>
                <c:pt idx="46">
                  <c:v>05.10.21</c:v>
                </c:pt>
                <c:pt idx="47">
                  <c:v>06.10.21</c:v>
                </c:pt>
                <c:pt idx="48">
                  <c:v>07.10.21</c:v>
                </c:pt>
                <c:pt idx="49">
                  <c:v>08.10.21</c:v>
                </c:pt>
                <c:pt idx="50">
                  <c:v>09.10.21</c:v>
                </c:pt>
                <c:pt idx="51">
                  <c:v>10.10.21</c:v>
                </c:pt>
                <c:pt idx="52">
                  <c:v>11.10.21</c:v>
                </c:pt>
                <c:pt idx="53">
                  <c:v>12.10.21</c:v>
                </c:pt>
                <c:pt idx="54">
                  <c:v>13.10.21</c:v>
                </c:pt>
                <c:pt idx="55">
                  <c:v>14.10.21</c:v>
                </c:pt>
                <c:pt idx="56">
                  <c:v>15.10.21</c:v>
                </c:pt>
                <c:pt idx="57">
                  <c:v>16.10.21</c:v>
                </c:pt>
                <c:pt idx="58">
                  <c:v>17.10.21</c:v>
                </c:pt>
                <c:pt idx="59">
                  <c:v>18.10.21</c:v>
                </c:pt>
                <c:pt idx="60">
                  <c:v>19.10.21</c:v>
                </c:pt>
                <c:pt idx="61">
                  <c:v>20.10.21</c:v>
                </c:pt>
                <c:pt idx="62">
                  <c:v>21.10.21</c:v>
                </c:pt>
                <c:pt idx="63">
                  <c:v>22.10.21</c:v>
                </c:pt>
                <c:pt idx="64">
                  <c:v>23.10.21</c:v>
                </c:pt>
                <c:pt idx="65">
                  <c:v>24.10.21</c:v>
                </c:pt>
                <c:pt idx="66">
                  <c:v>25.10.21</c:v>
                </c:pt>
                <c:pt idx="67">
                  <c:v>26.10.21</c:v>
                </c:pt>
                <c:pt idx="68">
                  <c:v>27.10.21</c:v>
                </c:pt>
                <c:pt idx="69">
                  <c:v>28.10.21</c:v>
                </c:pt>
                <c:pt idx="70">
                  <c:v>29.10.21</c:v>
                </c:pt>
                <c:pt idx="71">
                  <c:v>30.10.21</c:v>
                </c:pt>
                <c:pt idx="72">
                  <c:v>31.10.21</c:v>
                </c:pt>
                <c:pt idx="73">
                  <c:v>01.11.21</c:v>
                </c:pt>
                <c:pt idx="74">
                  <c:v>02.11.21</c:v>
                </c:pt>
                <c:pt idx="75">
                  <c:v>03.11.21</c:v>
                </c:pt>
                <c:pt idx="76">
                  <c:v>04.11.21</c:v>
                </c:pt>
                <c:pt idx="77">
                  <c:v>05.11.21</c:v>
                </c:pt>
                <c:pt idx="78">
                  <c:v>06.11.21</c:v>
                </c:pt>
                <c:pt idx="79">
                  <c:v>07.11.21</c:v>
                </c:pt>
                <c:pt idx="80">
                  <c:v>08.11.21</c:v>
                </c:pt>
                <c:pt idx="81">
                  <c:v>09.11.21</c:v>
                </c:pt>
                <c:pt idx="82">
                  <c:v>10.11.21</c:v>
                </c:pt>
                <c:pt idx="83">
                  <c:v>11.11.21</c:v>
                </c:pt>
                <c:pt idx="84">
                  <c:v>12.11.21</c:v>
                </c:pt>
                <c:pt idx="85">
                  <c:v>13.11.21</c:v>
                </c:pt>
                <c:pt idx="86">
                  <c:v>14.11.21</c:v>
                </c:pt>
                <c:pt idx="87">
                  <c:v>15.11.21</c:v>
                </c:pt>
                <c:pt idx="88">
                  <c:v>16.11.21</c:v>
                </c:pt>
                <c:pt idx="89">
                  <c:v>17.11.21</c:v>
                </c:pt>
                <c:pt idx="90">
                  <c:v>18.11.21</c:v>
                </c:pt>
                <c:pt idx="91">
                  <c:v>19.11.21</c:v>
                </c:pt>
                <c:pt idx="92">
                  <c:v>20.11.21</c:v>
                </c:pt>
                <c:pt idx="93">
                  <c:v>21.11.21</c:v>
                </c:pt>
                <c:pt idx="94">
                  <c:v>22.11.21</c:v>
                </c:pt>
                <c:pt idx="95">
                  <c:v>23.11.21</c:v>
                </c:pt>
                <c:pt idx="96">
                  <c:v>24.11.21</c:v>
                </c:pt>
                <c:pt idx="97">
                  <c:v>25.11.21</c:v>
                </c:pt>
                <c:pt idx="98">
                  <c:v>26.11.21</c:v>
                </c:pt>
                <c:pt idx="99">
                  <c:v>27.11.21</c:v>
                </c:pt>
                <c:pt idx="100">
                  <c:v>28.11.21</c:v>
                </c:pt>
                <c:pt idx="101">
                  <c:v>29.11.21</c:v>
                </c:pt>
                <c:pt idx="102">
                  <c:v>30.11.21</c:v>
                </c:pt>
                <c:pt idx="103">
                  <c:v>01.12.21</c:v>
                </c:pt>
                <c:pt idx="104">
                  <c:v>02.12.21</c:v>
                </c:pt>
                <c:pt idx="105">
                  <c:v>03.12.21</c:v>
                </c:pt>
                <c:pt idx="106">
                  <c:v>04.12.21</c:v>
                </c:pt>
                <c:pt idx="107">
                  <c:v>05.12.21</c:v>
                </c:pt>
                <c:pt idx="108">
                  <c:v>06.12.21</c:v>
                </c:pt>
                <c:pt idx="109">
                  <c:v>07.12.21</c:v>
                </c:pt>
                <c:pt idx="110">
                  <c:v>08.12.21</c:v>
                </c:pt>
                <c:pt idx="111">
                  <c:v>09.12.21</c:v>
                </c:pt>
                <c:pt idx="112">
                  <c:v>10.12.21</c:v>
                </c:pt>
                <c:pt idx="113">
                  <c:v>11.12.21</c:v>
                </c:pt>
                <c:pt idx="114">
                  <c:v>12.12.21</c:v>
                </c:pt>
                <c:pt idx="115">
                  <c:v>13.12.21</c:v>
                </c:pt>
                <c:pt idx="116">
                  <c:v>14.12.21</c:v>
                </c:pt>
                <c:pt idx="117">
                  <c:v>15.12.21</c:v>
                </c:pt>
                <c:pt idx="118">
                  <c:v>16.12.21</c:v>
                </c:pt>
                <c:pt idx="119">
                  <c:v>17.12.21</c:v>
                </c:pt>
                <c:pt idx="120">
                  <c:v>18.12.21</c:v>
                </c:pt>
                <c:pt idx="121">
                  <c:v>19.12.21</c:v>
                </c:pt>
                <c:pt idx="122">
                  <c:v>20.12.21</c:v>
                </c:pt>
                <c:pt idx="123">
                  <c:v>21.12.21</c:v>
                </c:pt>
                <c:pt idx="124">
                  <c:v>22.12.21</c:v>
                </c:pt>
                <c:pt idx="125">
                  <c:v>23.12.21</c:v>
                </c:pt>
                <c:pt idx="126">
                  <c:v>24.12.21</c:v>
                </c:pt>
                <c:pt idx="127">
                  <c:v>25.12.21</c:v>
                </c:pt>
                <c:pt idx="128">
                  <c:v>26.12.21</c:v>
                </c:pt>
                <c:pt idx="129">
                  <c:v>27.12.21</c:v>
                </c:pt>
                <c:pt idx="130">
                  <c:v>28.12.21</c:v>
                </c:pt>
                <c:pt idx="131">
                  <c:v>29.12.21</c:v>
                </c:pt>
                <c:pt idx="132">
                  <c:v>30.12.21</c:v>
                </c:pt>
                <c:pt idx="133">
                  <c:v>31.12.21</c:v>
                </c:pt>
                <c:pt idx="134">
                  <c:v>01.01.22</c:v>
                </c:pt>
                <c:pt idx="135">
                  <c:v>02.01.22</c:v>
                </c:pt>
                <c:pt idx="136">
                  <c:v>03.01.22</c:v>
                </c:pt>
                <c:pt idx="137">
                  <c:v>04.01.22</c:v>
                </c:pt>
                <c:pt idx="138">
                  <c:v>05.01.22</c:v>
                </c:pt>
                <c:pt idx="139">
                  <c:v>06.01.22</c:v>
                </c:pt>
                <c:pt idx="140">
                  <c:v>07.01.22</c:v>
                </c:pt>
                <c:pt idx="141">
                  <c:v>08.01.22</c:v>
                </c:pt>
                <c:pt idx="142">
                  <c:v>09.01.22</c:v>
                </c:pt>
                <c:pt idx="143">
                  <c:v>10.01.22</c:v>
                </c:pt>
                <c:pt idx="144">
                  <c:v>11.01.22</c:v>
                </c:pt>
                <c:pt idx="145">
                  <c:v>12.01.22</c:v>
                </c:pt>
                <c:pt idx="146">
                  <c:v>13.01.22</c:v>
                </c:pt>
                <c:pt idx="147">
                  <c:v>14.01.22</c:v>
                </c:pt>
                <c:pt idx="148">
                  <c:v>15.01.22</c:v>
                </c:pt>
                <c:pt idx="149">
                  <c:v>16.01.22</c:v>
                </c:pt>
                <c:pt idx="150">
                  <c:v>17.01.22</c:v>
                </c:pt>
                <c:pt idx="151">
                  <c:v>18.01.22</c:v>
                </c:pt>
                <c:pt idx="152">
                  <c:v>19.01.22</c:v>
                </c:pt>
                <c:pt idx="153">
                  <c:v>20.01.22</c:v>
                </c:pt>
                <c:pt idx="154">
                  <c:v>21.01.22</c:v>
                </c:pt>
                <c:pt idx="155">
                  <c:v>22.01.22</c:v>
                </c:pt>
                <c:pt idx="156">
                  <c:v>23.01.22</c:v>
                </c:pt>
                <c:pt idx="157">
                  <c:v>24.01.22</c:v>
                </c:pt>
                <c:pt idx="158">
                  <c:v>25.01.22</c:v>
                </c:pt>
                <c:pt idx="159">
                  <c:v>26.01.22</c:v>
                </c:pt>
                <c:pt idx="160">
                  <c:v>27.01.22</c:v>
                </c:pt>
                <c:pt idx="161">
                  <c:v>28.01.22</c:v>
                </c:pt>
                <c:pt idx="162">
                  <c:v>29.01.22</c:v>
                </c:pt>
                <c:pt idx="163">
                  <c:v>30.01.22</c:v>
                </c:pt>
                <c:pt idx="164">
                  <c:v>31.01.22</c:v>
                </c:pt>
                <c:pt idx="165">
                  <c:v>01.02.22</c:v>
                </c:pt>
                <c:pt idx="166">
                  <c:v>02.02.22</c:v>
                </c:pt>
                <c:pt idx="167">
                  <c:v>03.02.22</c:v>
                </c:pt>
                <c:pt idx="168">
                  <c:v>04.02.22</c:v>
                </c:pt>
                <c:pt idx="169">
                  <c:v>05.02.22</c:v>
                </c:pt>
                <c:pt idx="170">
                  <c:v>06.02.22</c:v>
                </c:pt>
                <c:pt idx="171">
                  <c:v>07.02.22</c:v>
                </c:pt>
                <c:pt idx="172">
                  <c:v>08.02.22</c:v>
                </c:pt>
                <c:pt idx="173">
                  <c:v>09.02.22</c:v>
                </c:pt>
                <c:pt idx="174">
                  <c:v>10.02.22</c:v>
                </c:pt>
                <c:pt idx="175">
                  <c:v>11.02.22</c:v>
                </c:pt>
                <c:pt idx="176">
                  <c:v>12.02.22</c:v>
                </c:pt>
                <c:pt idx="177">
                  <c:v>13.02.22</c:v>
                </c:pt>
                <c:pt idx="178">
                  <c:v>14.02.22</c:v>
                </c:pt>
                <c:pt idx="179">
                  <c:v>15.02.22</c:v>
                </c:pt>
                <c:pt idx="180">
                  <c:v>16.02.22</c:v>
                </c:pt>
                <c:pt idx="181">
                  <c:v>17.02.22</c:v>
                </c:pt>
                <c:pt idx="182">
                  <c:v>18.02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4</c:v>
                </c:pt>
                <c:pt idx="12">
                  <c:v>4</c:v>
                </c:pt>
                <c:pt idx="13">
                  <c:v>1</c:v>
                </c:pt>
                <c:pt idx="14">
                  <c:v>1</c:v>
                </c:pt>
                <c:pt idx="15">
                  <c:v>3</c:v>
                </c:pt>
                <c:pt idx="16">
                  <c:v>1</c:v>
                </c:pt>
                <c:pt idx="17">
                  <c:v>0</c:v>
                </c:pt>
                <c:pt idx="18">
                  <c:v>2</c:v>
                </c:pt>
                <c:pt idx="19">
                  <c:v>0</c:v>
                </c:pt>
                <c:pt idx="20">
                  <c:v>0</c:v>
                </c:pt>
                <c:pt idx="21">
                  <c:v>3</c:v>
                </c:pt>
                <c:pt idx="22">
                  <c:v>3</c:v>
                </c:pt>
                <c:pt idx="23">
                  <c:v>0</c:v>
                </c:pt>
                <c:pt idx="24">
                  <c:v>4</c:v>
                </c:pt>
                <c:pt idx="25">
                  <c:v>2</c:v>
                </c:pt>
                <c:pt idx="26">
                  <c:v>0</c:v>
                </c:pt>
                <c:pt idx="27">
                  <c:v>1</c:v>
                </c:pt>
                <c:pt idx="28">
                  <c:v>2</c:v>
                </c:pt>
                <c:pt idx="29">
                  <c:v>1</c:v>
                </c:pt>
                <c:pt idx="30">
                  <c:v>1</c:v>
                </c:pt>
                <c:pt idx="31">
                  <c:v>0</c:v>
                </c:pt>
                <c:pt idx="32">
                  <c:v>3</c:v>
                </c:pt>
                <c:pt idx="33">
                  <c:v>3</c:v>
                </c:pt>
                <c:pt idx="34">
                  <c:v>2</c:v>
                </c:pt>
                <c:pt idx="35">
                  <c:v>3</c:v>
                </c:pt>
                <c:pt idx="36">
                  <c:v>0</c:v>
                </c:pt>
                <c:pt idx="37">
                  <c:v>2</c:v>
                </c:pt>
                <c:pt idx="38">
                  <c:v>6</c:v>
                </c:pt>
                <c:pt idx="39">
                  <c:v>4</c:v>
                </c:pt>
                <c:pt idx="40">
                  <c:v>3</c:v>
                </c:pt>
                <c:pt idx="41">
                  <c:v>9</c:v>
                </c:pt>
                <c:pt idx="42">
                  <c:v>2</c:v>
                </c:pt>
                <c:pt idx="43">
                  <c:v>5</c:v>
                </c:pt>
                <c:pt idx="44">
                  <c:v>1</c:v>
                </c:pt>
                <c:pt idx="45">
                  <c:v>0</c:v>
                </c:pt>
                <c:pt idx="46">
                  <c:v>2</c:v>
                </c:pt>
                <c:pt idx="47">
                  <c:v>5</c:v>
                </c:pt>
                <c:pt idx="48">
                  <c:v>6</c:v>
                </c:pt>
                <c:pt idx="49">
                  <c:v>6</c:v>
                </c:pt>
                <c:pt idx="50">
                  <c:v>1</c:v>
                </c:pt>
                <c:pt idx="51">
                  <c:v>1</c:v>
                </c:pt>
                <c:pt idx="52">
                  <c:v>3</c:v>
                </c:pt>
                <c:pt idx="53">
                  <c:v>10</c:v>
                </c:pt>
                <c:pt idx="54">
                  <c:v>7</c:v>
                </c:pt>
                <c:pt idx="55">
                  <c:v>7</c:v>
                </c:pt>
                <c:pt idx="56">
                  <c:v>6</c:v>
                </c:pt>
                <c:pt idx="57">
                  <c:v>5</c:v>
                </c:pt>
                <c:pt idx="58">
                  <c:v>8</c:v>
                </c:pt>
                <c:pt idx="59">
                  <c:v>17</c:v>
                </c:pt>
                <c:pt idx="60">
                  <c:v>16</c:v>
                </c:pt>
                <c:pt idx="61">
                  <c:v>13</c:v>
                </c:pt>
                <c:pt idx="62">
                  <c:v>13</c:v>
                </c:pt>
                <c:pt idx="63">
                  <c:v>16</c:v>
                </c:pt>
                <c:pt idx="64">
                  <c:v>13</c:v>
                </c:pt>
                <c:pt idx="65">
                  <c:v>12</c:v>
                </c:pt>
                <c:pt idx="66">
                  <c:v>28</c:v>
                </c:pt>
                <c:pt idx="67">
                  <c:v>20</c:v>
                </c:pt>
                <c:pt idx="68">
                  <c:v>25</c:v>
                </c:pt>
                <c:pt idx="69">
                  <c:v>22</c:v>
                </c:pt>
                <c:pt idx="70">
                  <c:v>36</c:v>
                </c:pt>
                <c:pt idx="71">
                  <c:v>21</c:v>
                </c:pt>
                <c:pt idx="72">
                  <c:v>18</c:v>
                </c:pt>
                <c:pt idx="73">
                  <c:v>55</c:v>
                </c:pt>
                <c:pt idx="74">
                  <c:v>37</c:v>
                </c:pt>
                <c:pt idx="75">
                  <c:v>38</c:v>
                </c:pt>
                <c:pt idx="76">
                  <c:v>27</c:v>
                </c:pt>
                <c:pt idx="77">
                  <c:v>40</c:v>
                </c:pt>
                <c:pt idx="78">
                  <c:v>20</c:v>
                </c:pt>
                <c:pt idx="79">
                  <c:v>18</c:v>
                </c:pt>
                <c:pt idx="80">
                  <c:v>52</c:v>
                </c:pt>
                <c:pt idx="81">
                  <c:v>47</c:v>
                </c:pt>
                <c:pt idx="82">
                  <c:v>47</c:v>
                </c:pt>
                <c:pt idx="83">
                  <c:v>49</c:v>
                </c:pt>
                <c:pt idx="84">
                  <c:v>41</c:v>
                </c:pt>
                <c:pt idx="85">
                  <c:v>48</c:v>
                </c:pt>
                <c:pt idx="86">
                  <c:v>22</c:v>
                </c:pt>
                <c:pt idx="87">
                  <c:v>63</c:v>
                </c:pt>
                <c:pt idx="88">
                  <c:v>56</c:v>
                </c:pt>
                <c:pt idx="89">
                  <c:v>43</c:v>
                </c:pt>
                <c:pt idx="90">
                  <c:v>53</c:v>
                </c:pt>
                <c:pt idx="91">
                  <c:v>77</c:v>
                </c:pt>
                <c:pt idx="92">
                  <c:v>46</c:v>
                </c:pt>
                <c:pt idx="93">
                  <c:v>32</c:v>
                </c:pt>
                <c:pt idx="94">
                  <c:v>61</c:v>
                </c:pt>
                <c:pt idx="95">
                  <c:v>69</c:v>
                </c:pt>
                <c:pt idx="96">
                  <c:v>41</c:v>
                </c:pt>
                <c:pt idx="97">
                  <c:v>66</c:v>
                </c:pt>
                <c:pt idx="98">
                  <c:v>51</c:v>
                </c:pt>
                <c:pt idx="99">
                  <c:v>35</c:v>
                </c:pt>
                <c:pt idx="100">
                  <c:v>38</c:v>
                </c:pt>
                <c:pt idx="101">
                  <c:v>57</c:v>
                </c:pt>
                <c:pt idx="102">
                  <c:v>45</c:v>
                </c:pt>
                <c:pt idx="103">
                  <c:v>56</c:v>
                </c:pt>
                <c:pt idx="104">
                  <c:v>40</c:v>
                </c:pt>
                <c:pt idx="105">
                  <c:v>50</c:v>
                </c:pt>
                <c:pt idx="106">
                  <c:v>24</c:v>
                </c:pt>
                <c:pt idx="107">
                  <c:v>15</c:v>
                </c:pt>
                <c:pt idx="108">
                  <c:v>45</c:v>
                </c:pt>
                <c:pt idx="109">
                  <c:v>40</c:v>
                </c:pt>
                <c:pt idx="110">
                  <c:v>30</c:v>
                </c:pt>
                <c:pt idx="111">
                  <c:v>29</c:v>
                </c:pt>
                <c:pt idx="112">
                  <c:v>33</c:v>
                </c:pt>
                <c:pt idx="113">
                  <c:v>19</c:v>
                </c:pt>
                <c:pt idx="114">
                  <c:v>11</c:v>
                </c:pt>
                <c:pt idx="115">
                  <c:v>28</c:v>
                </c:pt>
                <c:pt idx="116">
                  <c:v>25</c:v>
                </c:pt>
                <c:pt idx="117">
                  <c:v>24</c:v>
                </c:pt>
                <c:pt idx="118">
                  <c:v>16</c:v>
                </c:pt>
                <c:pt idx="119">
                  <c:v>22</c:v>
                </c:pt>
                <c:pt idx="120">
                  <c:v>19</c:v>
                </c:pt>
                <c:pt idx="121">
                  <c:v>15</c:v>
                </c:pt>
                <c:pt idx="122">
                  <c:v>27</c:v>
                </c:pt>
                <c:pt idx="123">
                  <c:v>27</c:v>
                </c:pt>
                <c:pt idx="124">
                  <c:v>21</c:v>
                </c:pt>
                <c:pt idx="125">
                  <c:v>23</c:v>
                </c:pt>
                <c:pt idx="126">
                  <c:v>4</c:v>
                </c:pt>
                <c:pt idx="127">
                  <c:v>11</c:v>
                </c:pt>
                <c:pt idx="128">
                  <c:v>8</c:v>
                </c:pt>
                <c:pt idx="129">
                  <c:v>25</c:v>
                </c:pt>
                <c:pt idx="130">
                  <c:v>32</c:v>
                </c:pt>
                <c:pt idx="131">
                  <c:v>23</c:v>
                </c:pt>
                <c:pt idx="132">
                  <c:v>20</c:v>
                </c:pt>
                <c:pt idx="133">
                  <c:v>19</c:v>
                </c:pt>
                <c:pt idx="134">
                  <c:v>6</c:v>
                </c:pt>
                <c:pt idx="135">
                  <c:v>24</c:v>
                </c:pt>
                <c:pt idx="136">
                  <c:v>33</c:v>
                </c:pt>
                <c:pt idx="137">
                  <c:v>26</c:v>
                </c:pt>
                <c:pt idx="138">
                  <c:v>20</c:v>
                </c:pt>
                <c:pt idx="139">
                  <c:v>25</c:v>
                </c:pt>
                <c:pt idx="140">
                  <c:v>18</c:v>
                </c:pt>
                <c:pt idx="141">
                  <c:v>17</c:v>
                </c:pt>
                <c:pt idx="142">
                  <c:v>13</c:v>
                </c:pt>
                <c:pt idx="143">
                  <c:v>32</c:v>
                </c:pt>
                <c:pt idx="144">
                  <c:v>46</c:v>
                </c:pt>
                <c:pt idx="145">
                  <c:v>69</c:v>
                </c:pt>
                <c:pt idx="146">
                  <c:v>39</c:v>
                </c:pt>
                <c:pt idx="147">
                  <c:v>45</c:v>
                </c:pt>
                <c:pt idx="148">
                  <c:v>31</c:v>
                </c:pt>
                <c:pt idx="149">
                  <c:v>41</c:v>
                </c:pt>
                <c:pt idx="150">
                  <c:v>108</c:v>
                </c:pt>
                <c:pt idx="151">
                  <c:v>86</c:v>
                </c:pt>
                <c:pt idx="152">
                  <c:v>113</c:v>
                </c:pt>
                <c:pt idx="153">
                  <c:v>109</c:v>
                </c:pt>
                <c:pt idx="154">
                  <c:v>88</c:v>
                </c:pt>
                <c:pt idx="155">
                  <c:v>57</c:v>
                </c:pt>
                <c:pt idx="156">
                  <c:v>69</c:v>
                </c:pt>
                <c:pt idx="157">
                  <c:v>173</c:v>
                </c:pt>
                <c:pt idx="158">
                  <c:v>155</c:v>
                </c:pt>
                <c:pt idx="159">
                  <c:v>167</c:v>
                </c:pt>
                <c:pt idx="160">
                  <c:v>121</c:v>
                </c:pt>
                <c:pt idx="161">
                  <c:v>149</c:v>
                </c:pt>
                <c:pt idx="162">
                  <c:v>58</c:v>
                </c:pt>
                <c:pt idx="163">
                  <c:v>99</c:v>
                </c:pt>
                <c:pt idx="164">
                  <c:v>166</c:v>
                </c:pt>
                <c:pt idx="165">
                  <c:v>192</c:v>
                </c:pt>
                <c:pt idx="166">
                  <c:v>144</c:v>
                </c:pt>
                <c:pt idx="167">
                  <c:v>123</c:v>
                </c:pt>
                <c:pt idx="168">
                  <c:v>112</c:v>
                </c:pt>
                <c:pt idx="169">
                  <c:v>74</c:v>
                </c:pt>
                <c:pt idx="170">
                  <c:v>51</c:v>
                </c:pt>
                <c:pt idx="171">
                  <c:v>123</c:v>
                </c:pt>
                <c:pt idx="172">
                  <c:v>112</c:v>
                </c:pt>
                <c:pt idx="173">
                  <c:v>91</c:v>
                </c:pt>
                <c:pt idx="174">
                  <c:v>89</c:v>
                </c:pt>
                <c:pt idx="175">
                  <c:v>88</c:v>
                </c:pt>
                <c:pt idx="176">
                  <c:v>42</c:v>
                </c:pt>
                <c:pt idx="177">
                  <c:v>38</c:v>
                </c:pt>
                <c:pt idx="178">
                  <c:v>126</c:v>
                </c:pt>
                <c:pt idx="179">
                  <c:v>81</c:v>
                </c:pt>
                <c:pt idx="180">
                  <c:v>77</c:v>
                </c:pt>
                <c:pt idx="181">
                  <c:v>59</c:v>
                </c:pt>
                <c:pt idx="182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3.5507512293320191E-3"/>
                  <c:y val="-7.92633711202343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244118952507763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0.08.21</c:v>
                </c:pt>
                <c:pt idx="1">
                  <c:v>21.08.21</c:v>
                </c:pt>
                <c:pt idx="2">
                  <c:v>22.08.21</c:v>
                </c:pt>
                <c:pt idx="3">
                  <c:v>23.08.21</c:v>
                </c:pt>
                <c:pt idx="4">
                  <c:v>24.08.21</c:v>
                </c:pt>
                <c:pt idx="5">
                  <c:v>25.08.21</c:v>
                </c:pt>
                <c:pt idx="6">
                  <c:v>26.08.21</c:v>
                </c:pt>
                <c:pt idx="7">
                  <c:v>27.08.21</c:v>
                </c:pt>
                <c:pt idx="8">
                  <c:v>28.08.21</c:v>
                </c:pt>
                <c:pt idx="9">
                  <c:v>29.08.21</c:v>
                </c:pt>
                <c:pt idx="10">
                  <c:v>30.08.21</c:v>
                </c:pt>
                <c:pt idx="11">
                  <c:v>31.08.21</c:v>
                </c:pt>
                <c:pt idx="12">
                  <c:v>01.09.21</c:v>
                </c:pt>
                <c:pt idx="13">
                  <c:v>02.09.21</c:v>
                </c:pt>
                <c:pt idx="14">
                  <c:v>03.09.21</c:v>
                </c:pt>
                <c:pt idx="15">
                  <c:v>04.09.21</c:v>
                </c:pt>
                <c:pt idx="16">
                  <c:v>05.09.21</c:v>
                </c:pt>
                <c:pt idx="17">
                  <c:v>06.09.21</c:v>
                </c:pt>
                <c:pt idx="18">
                  <c:v>07.09.21</c:v>
                </c:pt>
                <c:pt idx="19">
                  <c:v>08.09.21</c:v>
                </c:pt>
                <c:pt idx="20">
                  <c:v>09.09.21</c:v>
                </c:pt>
                <c:pt idx="21">
                  <c:v>10.09.21</c:v>
                </c:pt>
                <c:pt idx="22">
                  <c:v>11.09.21</c:v>
                </c:pt>
                <c:pt idx="23">
                  <c:v>12.09.21</c:v>
                </c:pt>
                <c:pt idx="24">
                  <c:v>13.09.21</c:v>
                </c:pt>
                <c:pt idx="25">
                  <c:v>14.09.21</c:v>
                </c:pt>
                <c:pt idx="26">
                  <c:v>15.09.21</c:v>
                </c:pt>
                <c:pt idx="27">
                  <c:v>16.09.21</c:v>
                </c:pt>
                <c:pt idx="28">
                  <c:v>17.09.21</c:v>
                </c:pt>
                <c:pt idx="29">
                  <c:v>18.09.21</c:v>
                </c:pt>
                <c:pt idx="30">
                  <c:v>19.09.21</c:v>
                </c:pt>
                <c:pt idx="31">
                  <c:v>20.09.21</c:v>
                </c:pt>
                <c:pt idx="32">
                  <c:v>21.09.21</c:v>
                </c:pt>
                <c:pt idx="33">
                  <c:v>22.09.21</c:v>
                </c:pt>
                <c:pt idx="34">
                  <c:v>23.09.21</c:v>
                </c:pt>
                <c:pt idx="35">
                  <c:v>24.09.21</c:v>
                </c:pt>
                <c:pt idx="36">
                  <c:v>25.09.21</c:v>
                </c:pt>
                <c:pt idx="37">
                  <c:v>26.09.21</c:v>
                </c:pt>
                <c:pt idx="38">
                  <c:v>27.09.21</c:v>
                </c:pt>
                <c:pt idx="39">
                  <c:v>28.09.21</c:v>
                </c:pt>
                <c:pt idx="40">
                  <c:v>29.09.21</c:v>
                </c:pt>
                <c:pt idx="41">
                  <c:v>30.09.21</c:v>
                </c:pt>
                <c:pt idx="42">
                  <c:v>01.10.21</c:v>
                </c:pt>
                <c:pt idx="43">
                  <c:v>02.10.21</c:v>
                </c:pt>
                <c:pt idx="44">
                  <c:v>03.10.21</c:v>
                </c:pt>
                <c:pt idx="45">
                  <c:v>04.10.21</c:v>
                </c:pt>
                <c:pt idx="46">
                  <c:v>05.10.21</c:v>
                </c:pt>
                <c:pt idx="47">
                  <c:v>06.10.21</c:v>
                </c:pt>
                <c:pt idx="48">
                  <c:v>07.10.21</c:v>
                </c:pt>
                <c:pt idx="49">
                  <c:v>08.10.21</c:v>
                </c:pt>
                <c:pt idx="50">
                  <c:v>09.10.21</c:v>
                </c:pt>
                <c:pt idx="51">
                  <c:v>10.10.21</c:v>
                </c:pt>
                <c:pt idx="52">
                  <c:v>11.10.21</c:v>
                </c:pt>
                <c:pt idx="53">
                  <c:v>12.10.21</c:v>
                </c:pt>
                <c:pt idx="54">
                  <c:v>13.10.21</c:v>
                </c:pt>
                <c:pt idx="55">
                  <c:v>14.10.21</c:v>
                </c:pt>
                <c:pt idx="56">
                  <c:v>15.10.21</c:v>
                </c:pt>
                <c:pt idx="57">
                  <c:v>16.10.21</c:v>
                </c:pt>
                <c:pt idx="58">
                  <c:v>17.10.21</c:v>
                </c:pt>
                <c:pt idx="59">
                  <c:v>18.10.21</c:v>
                </c:pt>
                <c:pt idx="60">
                  <c:v>19.10.21</c:v>
                </c:pt>
                <c:pt idx="61">
                  <c:v>20.10.21</c:v>
                </c:pt>
                <c:pt idx="62">
                  <c:v>21.10.21</c:v>
                </c:pt>
                <c:pt idx="63">
                  <c:v>22.10.21</c:v>
                </c:pt>
                <c:pt idx="64">
                  <c:v>23.10.21</c:v>
                </c:pt>
                <c:pt idx="65">
                  <c:v>24.10.21</c:v>
                </c:pt>
                <c:pt idx="66">
                  <c:v>25.10.21</c:v>
                </c:pt>
                <c:pt idx="67">
                  <c:v>26.10.21</c:v>
                </c:pt>
                <c:pt idx="68">
                  <c:v>27.10.21</c:v>
                </c:pt>
                <c:pt idx="69">
                  <c:v>28.10.21</c:v>
                </c:pt>
                <c:pt idx="70">
                  <c:v>29.10.21</c:v>
                </c:pt>
                <c:pt idx="71">
                  <c:v>30.10.21</c:v>
                </c:pt>
                <c:pt idx="72">
                  <c:v>31.10.21</c:v>
                </c:pt>
                <c:pt idx="73">
                  <c:v>01.11.21</c:v>
                </c:pt>
                <c:pt idx="74">
                  <c:v>02.11.21</c:v>
                </c:pt>
                <c:pt idx="75">
                  <c:v>03.11.21</c:v>
                </c:pt>
                <c:pt idx="76">
                  <c:v>04.11.21</c:v>
                </c:pt>
                <c:pt idx="77">
                  <c:v>05.11.21</c:v>
                </c:pt>
                <c:pt idx="78">
                  <c:v>06.11.21</c:v>
                </c:pt>
                <c:pt idx="79">
                  <c:v>07.11.21</c:v>
                </c:pt>
                <c:pt idx="80">
                  <c:v>08.11.21</c:v>
                </c:pt>
                <c:pt idx="81">
                  <c:v>09.11.21</c:v>
                </c:pt>
                <c:pt idx="82">
                  <c:v>10.11.21</c:v>
                </c:pt>
                <c:pt idx="83">
                  <c:v>11.11.21</c:v>
                </c:pt>
                <c:pt idx="84">
                  <c:v>12.11.21</c:v>
                </c:pt>
                <c:pt idx="85">
                  <c:v>13.11.21</c:v>
                </c:pt>
                <c:pt idx="86">
                  <c:v>14.11.21</c:v>
                </c:pt>
                <c:pt idx="87">
                  <c:v>15.11.21</c:v>
                </c:pt>
                <c:pt idx="88">
                  <c:v>16.11.21</c:v>
                </c:pt>
                <c:pt idx="89">
                  <c:v>17.11.21</c:v>
                </c:pt>
                <c:pt idx="90">
                  <c:v>18.11.21</c:v>
                </c:pt>
                <c:pt idx="91">
                  <c:v>19.11.21</c:v>
                </c:pt>
                <c:pt idx="92">
                  <c:v>20.11.21</c:v>
                </c:pt>
                <c:pt idx="93">
                  <c:v>21.11.21</c:v>
                </c:pt>
                <c:pt idx="94">
                  <c:v>22.11.21</c:v>
                </c:pt>
                <c:pt idx="95">
                  <c:v>23.11.21</c:v>
                </c:pt>
                <c:pt idx="96">
                  <c:v>24.11.21</c:v>
                </c:pt>
                <c:pt idx="97">
                  <c:v>25.11.21</c:v>
                </c:pt>
                <c:pt idx="98">
                  <c:v>26.11.21</c:v>
                </c:pt>
                <c:pt idx="99">
                  <c:v>27.11.21</c:v>
                </c:pt>
                <c:pt idx="100">
                  <c:v>28.11.21</c:v>
                </c:pt>
                <c:pt idx="101">
                  <c:v>29.11.21</c:v>
                </c:pt>
                <c:pt idx="102">
                  <c:v>30.11.21</c:v>
                </c:pt>
                <c:pt idx="103">
                  <c:v>01.12.21</c:v>
                </c:pt>
                <c:pt idx="104">
                  <c:v>02.12.21</c:v>
                </c:pt>
                <c:pt idx="105">
                  <c:v>03.12.21</c:v>
                </c:pt>
                <c:pt idx="106">
                  <c:v>04.12.21</c:v>
                </c:pt>
                <c:pt idx="107">
                  <c:v>05.12.21</c:v>
                </c:pt>
                <c:pt idx="108">
                  <c:v>06.12.21</c:v>
                </c:pt>
                <c:pt idx="109">
                  <c:v>07.12.21</c:v>
                </c:pt>
                <c:pt idx="110">
                  <c:v>08.12.21</c:v>
                </c:pt>
                <c:pt idx="111">
                  <c:v>09.12.21</c:v>
                </c:pt>
                <c:pt idx="112">
                  <c:v>10.12.21</c:v>
                </c:pt>
                <c:pt idx="113">
                  <c:v>11.12.21</c:v>
                </c:pt>
                <c:pt idx="114">
                  <c:v>12.12.21</c:v>
                </c:pt>
                <c:pt idx="115">
                  <c:v>13.12.21</c:v>
                </c:pt>
                <c:pt idx="116">
                  <c:v>14.12.21</c:v>
                </c:pt>
                <c:pt idx="117">
                  <c:v>15.12.21</c:v>
                </c:pt>
                <c:pt idx="118">
                  <c:v>16.12.21</c:v>
                </c:pt>
                <c:pt idx="119">
                  <c:v>17.12.21</c:v>
                </c:pt>
                <c:pt idx="120">
                  <c:v>18.12.21</c:v>
                </c:pt>
                <c:pt idx="121">
                  <c:v>19.12.21</c:v>
                </c:pt>
                <c:pt idx="122">
                  <c:v>20.12.21</c:v>
                </c:pt>
                <c:pt idx="123">
                  <c:v>21.12.21</c:v>
                </c:pt>
                <c:pt idx="124">
                  <c:v>22.12.21</c:v>
                </c:pt>
                <c:pt idx="125">
                  <c:v>23.12.21</c:v>
                </c:pt>
                <c:pt idx="126">
                  <c:v>24.12.21</c:v>
                </c:pt>
                <c:pt idx="127">
                  <c:v>25.12.21</c:v>
                </c:pt>
                <c:pt idx="128">
                  <c:v>26.12.21</c:v>
                </c:pt>
                <c:pt idx="129">
                  <c:v>27.12.21</c:v>
                </c:pt>
                <c:pt idx="130">
                  <c:v>28.12.21</c:v>
                </c:pt>
                <c:pt idx="131">
                  <c:v>29.12.21</c:v>
                </c:pt>
                <c:pt idx="132">
                  <c:v>30.12.21</c:v>
                </c:pt>
                <c:pt idx="133">
                  <c:v>31.12.21</c:v>
                </c:pt>
                <c:pt idx="134">
                  <c:v>01.01.22</c:v>
                </c:pt>
                <c:pt idx="135">
                  <c:v>02.01.22</c:v>
                </c:pt>
                <c:pt idx="136">
                  <c:v>03.01.22</c:v>
                </c:pt>
                <c:pt idx="137">
                  <c:v>04.01.22</c:v>
                </c:pt>
                <c:pt idx="138">
                  <c:v>05.01.22</c:v>
                </c:pt>
                <c:pt idx="139">
                  <c:v>06.01.22</c:v>
                </c:pt>
                <c:pt idx="140">
                  <c:v>07.01.22</c:v>
                </c:pt>
                <c:pt idx="141">
                  <c:v>08.01.22</c:v>
                </c:pt>
                <c:pt idx="142">
                  <c:v>09.01.22</c:v>
                </c:pt>
                <c:pt idx="143">
                  <c:v>10.01.22</c:v>
                </c:pt>
                <c:pt idx="144">
                  <c:v>11.01.22</c:v>
                </c:pt>
                <c:pt idx="145">
                  <c:v>12.01.22</c:v>
                </c:pt>
                <c:pt idx="146">
                  <c:v>13.01.22</c:v>
                </c:pt>
                <c:pt idx="147">
                  <c:v>14.01.22</c:v>
                </c:pt>
                <c:pt idx="148">
                  <c:v>15.01.22</c:v>
                </c:pt>
                <c:pt idx="149">
                  <c:v>16.01.22</c:v>
                </c:pt>
                <c:pt idx="150">
                  <c:v>17.01.22</c:v>
                </c:pt>
                <c:pt idx="151">
                  <c:v>18.01.22</c:v>
                </c:pt>
                <c:pt idx="152">
                  <c:v>19.01.22</c:v>
                </c:pt>
                <c:pt idx="153">
                  <c:v>20.01.22</c:v>
                </c:pt>
                <c:pt idx="154">
                  <c:v>21.01.22</c:v>
                </c:pt>
                <c:pt idx="155">
                  <c:v>22.01.22</c:v>
                </c:pt>
                <c:pt idx="156">
                  <c:v>23.01.22</c:v>
                </c:pt>
                <c:pt idx="157">
                  <c:v>24.01.22</c:v>
                </c:pt>
                <c:pt idx="158">
                  <c:v>25.01.22</c:v>
                </c:pt>
                <c:pt idx="159">
                  <c:v>26.01.22</c:v>
                </c:pt>
                <c:pt idx="160">
                  <c:v>27.01.22</c:v>
                </c:pt>
                <c:pt idx="161">
                  <c:v>28.01.22</c:v>
                </c:pt>
                <c:pt idx="162">
                  <c:v>29.01.22</c:v>
                </c:pt>
                <c:pt idx="163">
                  <c:v>30.01.22</c:v>
                </c:pt>
                <c:pt idx="164">
                  <c:v>31.01.22</c:v>
                </c:pt>
                <c:pt idx="165">
                  <c:v>01.02.22</c:v>
                </c:pt>
                <c:pt idx="166">
                  <c:v>02.02.22</c:v>
                </c:pt>
                <c:pt idx="167">
                  <c:v>03.02.22</c:v>
                </c:pt>
                <c:pt idx="168">
                  <c:v>04.02.22</c:v>
                </c:pt>
                <c:pt idx="169">
                  <c:v>05.02.22</c:v>
                </c:pt>
                <c:pt idx="170">
                  <c:v>06.02.22</c:v>
                </c:pt>
                <c:pt idx="171">
                  <c:v>07.02.22</c:v>
                </c:pt>
                <c:pt idx="172">
                  <c:v>08.02.22</c:v>
                </c:pt>
                <c:pt idx="173">
                  <c:v>09.02.22</c:v>
                </c:pt>
                <c:pt idx="174">
                  <c:v>10.02.22</c:v>
                </c:pt>
                <c:pt idx="175">
                  <c:v>11.02.22</c:v>
                </c:pt>
                <c:pt idx="176">
                  <c:v>12.02.22</c:v>
                </c:pt>
                <c:pt idx="177">
                  <c:v>13.02.22</c:v>
                </c:pt>
                <c:pt idx="178">
                  <c:v>14.02.22</c:v>
                </c:pt>
                <c:pt idx="179">
                  <c:v>15.02.22</c:v>
                </c:pt>
                <c:pt idx="180">
                  <c:v>16.02.22</c:v>
                </c:pt>
                <c:pt idx="181">
                  <c:v>17.02.22</c:v>
                </c:pt>
                <c:pt idx="182">
                  <c:v>18.02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2</c:v>
                </c:pt>
                <c:pt idx="5">
                  <c:v>0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0</c:v>
                </c:pt>
                <c:pt idx="11">
                  <c:v>2</c:v>
                </c:pt>
                <c:pt idx="12">
                  <c:v>1</c:v>
                </c:pt>
                <c:pt idx="13">
                  <c:v>5</c:v>
                </c:pt>
                <c:pt idx="14">
                  <c:v>6</c:v>
                </c:pt>
                <c:pt idx="15">
                  <c:v>1</c:v>
                </c:pt>
                <c:pt idx="16">
                  <c:v>0</c:v>
                </c:pt>
                <c:pt idx="17">
                  <c:v>2</c:v>
                </c:pt>
                <c:pt idx="18">
                  <c:v>6</c:v>
                </c:pt>
                <c:pt idx="19">
                  <c:v>1</c:v>
                </c:pt>
                <c:pt idx="20">
                  <c:v>4</c:v>
                </c:pt>
                <c:pt idx="21">
                  <c:v>0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4</c:v>
                </c:pt>
                <c:pt idx="26">
                  <c:v>3</c:v>
                </c:pt>
                <c:pt idx="27">
                  <c:v>7</c:v>
                </c:pt>
                <c:pt idx="28">
                  <c:v>4</c:v>
                </c:pt>
                <c:pt idx="29">
                  <c:v>2</c:v>
                </c:pt>
                <c:pt idx="30">
                  <c:v>2</c:v>
                </c:pt>
                <c:pt idx="31">
                  <c:v>9</c:v>
                </c:pt>
                <c:pt idx="32">
                  <c:v>7</c:v>
                </c:pt>
                <c:pt idx="33">
                  <c:v>5</c:v>
                </c:pt>
                <c:pt idx="34">
                  <c:v>5</c:v>
                </c:pt>
                <c:pt idx="35">
                  <c:v>7</c:v>
                </c:pt>
                <c:pt idx="36">
                  <c:v>6</c:v>
                </c:pt>
                <c:pt idx="37">
                  <c:v>6</c:v>
                </c:pt>
                <c:pt idx="38">
                  <c:v>5</c:v>
                </c:pt>
                <c:pt idx="39">
                  <c:v>7</c:v>
                </c:pt>
                <c:pt idx="40">
                  <c:v>12</c:v>
                </c:pt>
                <c:pt idx="41">
                  <c:v>15</c:v>
                </c:pt>
                <c:pt idx="42">
                  <c:v>7</c:v>
                </c:pt>
                <c:pt idx="43">
                  <c:v>5</c:v>
                </c:pt>
                <c:pt idx="44">
                  <c:v>8</c:v>
                </c:pt>
                <c:pt idx="45">
                  <c:v>10</c:v>
                </c:pt>
                <c:pt idx="46">
                  <c:v>13</c:v>
                </c:pt>
                <c:pt idx="47">
                  <c:v>8</c:v>
                </c:pt>
                <c:pt idx="48">
                  <c:v>8</c:v>
                </c:pt>
                <c:pt idx="49">
                  <c:v>9</c:v>
                </c:pt>
                <c:pt idx="50">
                  <c:v>5</c:v>
                </c:pt>
                <c:pt idx="51">
                  <c:v>4</c:v>
                </c:pt>
                <c:pt idx="52">
                  <c:v>17</c:v>
                </c:pt>
                <c:pt idx="53">
                  <c:v>17</c:v>
                </c:pt>
                <c:pt idx="54">
                  <c:v>20</c:v>
                </c:pt>
                <c:pt idx="55">
                  <c:v>19</c:v>
                </c:pt>
                <c:pt idx="56">
                  <c:v>17</c:v>
                </c:pt>
                <c:pt idx="57">
                  <c:v>10</c:v>
                </c:pt>
                <c:pt idx="58">
                  <c:v>10</c:v>
                </c:pt>
                <c:pt idx="59">
                  <c:v>32</c:v>
                </c:pt>
                <c:pt idx="60">
                  <c:v>24</c:v>
                </c:pt>
                <c:pt idx="61">
                  <c:v>25</c:v>
                </c:pt>
                <c:pt idx="62">
                  <c:v>49</c:v>
                </c:pt>
                <c:pt idx="63">
                  <c:v>38</c:v>
                </c:pt>
                <c:pt idx="64">
                  <c:v>31</c:v>
                </c:pt>
                <c:pt idx="65">
                  <c:v>11</c:v>
                </c:pt>
                <c:pt idx="66">
                  <c:v>58</c:v>
                </c:pt>
                <c:pt idx="67">
                  <c:v>63</c:v>
                </c:pt>
                <c:pt idx="68">
                  <c:v>69</c:v>
                </c:pt>
                <c:pt idx="69">
                  <c:v>30</c:v>
                </c:pt>
                <c:pt idx="70">
                  <c:v>77</c:v>
                </c:pt>
                <c:pt idx="71">
                  <c:v>55</c:v>
                </c:pt>
                <c:pt idx="72">
                  <c:v>37</c:v>
                </c:pt>
                <c:pt idx="73">
                  <c:v>103</c:v>
                </c:pt>
                <c:pt idx="74">
                  <c:v>99</c:v>
                </c:pt>
                <c:pt idx="75">
                  <c:v>106</c:v>
                </c:pt>
                <c:pt idx="76">
                  <c:v>96</c:v>
                </c:pt>
                <c:pt idx="77">
                  <c:v>105</c:v>
                </c:pt>
                <c:pt idx="78">
                  <c:v>79</c:v>
                </c:pt>
                <c:pt idx="79">
                  <c:v>24</c:v>
                </c:pt>
                <c:pt idx="80">
                  <c:v>121</c:v>
                </c:pt>
                <c:pt idx="81">
                  <c:v>132</c:v>
                </c:pt>
                <c:pt idx="82">
                  <c:v>164</c:v>
                </c:pt>
                <c:pt idx="83">
                  <c:v>92</c:v>
                </c:pt>
                <c:pt idx="84">
                  <c:v>151</c:v>
                </c:pt>
                <c:pt idx="85">
                  <c:v>87</c:v>
                </c:pt>
                <c:pt idx="86">
                  <c:v>52</c:v>
                </c:pt>
                <c:pt idx="87">
                  <c:v>145</c:v>
                </c:pt>
                <c:pt idx="88">
                  <c:v>213</c:v>
                </c:pt>
                <c:pt idx="89">
                  <c:v>107</c:v>
                </c:pt>
                <c:pt idx="90">
                  <c:v>154</c:v>
                </c:pt>
                <c:pt idx="91">
                  <c:v>209</c:v>
                </c:pt>
                <c:pt idx="92">
                  <c:v>146</c:v>
                </c:pt>
                <c:pt idx="93">
                  <c:v>78</c:v>
                </c:pt>
                <c:pt idx="94">
                  <c:v>177</c:v>
                </c:pt>
                <c:pt idx="95">
                  <c:v>236</c:v>
                </c:pt>
                <c:pt idx="96">
                  <c:v>126</c:v>
                </c:pt>
                <c:pt idx="97">
                  <c:v>197</c:v>
                </c:pt>
                <c:pt idx="98">
                  <c:v>173</c:v>
                </c:pt>
                <c:pt idx="99">
                  <c:v>99</c:v>
                </c:pt>
                <c:pt idx="100">
                  <c:v>74</c:v>
                </c:pt>
                <c:pt idx="101">
                  <c:v>192</c:v>
                </c:pt>
                <c:pt idx="102">
                  <c:v>151</c:v>
                </c:pt>
                <c:pt idx="103">
                  <c:v>157</c:v>
                </c:pt>
                <c:pt idx="104">
                  <c:v>138</c:v>
                </c:pt>
                <c:pt idx="105">
                  <c:v>126</c:v>
                </c:pt>
                <c:pt idx="106">
                  <c:v>77</c:v>
                </c:pt>
                <c:pt idx="107">
                  <c:v>61</c:v>
                </c:pt>
                <c:pt idx="108">
                  <c:v>150</c:v>
                </c:pt>
                <c:pt idx="109">
                  <c:v>143</c:v>
                </c:pt>
                <c:pt idx="110">
                  <c:v>107</c:v>
                </c:pt>
                <c:pt idx="111">
                  <c:v>116</c:v>
                </c:pt>
                <c:pt idx="112">
                  <c:v>105</c:v>
                </c:pt>
                <c:pt idx="113">
                  <c:v>69</c:v>
                </c:pt>
                <c:pt idx="114">
                  <c:v>50</c:v>
                </c:pt>
                <c:pt idx="115">
                  <c:v>95</c:v>
                </c:pt>
                <c:pt idx="116">
                  <c:v>112</c:v>
                </c:pt>
                <c:pt idx="117">
                  <c:v>78</c:v>
                </c:pt>
                <c:pt idx="118">
                  <c:v>61</c:v>
                </c:pt>
                <c:pt idx="119">
                  <c:v>71</c:v>
                </c:pt>
                <c:pt idx="120">
                  <c:v>44</c:v>
                </c:pt>
                <c:pt idx="121">
                  <c:v>30</c:v>
                </c:pt>
                <c:pt idx="122">
                  <c:v>82</c:v>
                </c:pt>
                <c:pt idx="123">
                  <c:v>74</c:v>
                </c:pt>
                <c:pt idx="124">
                  <c:v>50</c:v>
                </c:pt>
                <c:pt idx="125">
                  <c:v>54</c:v>
                </c:pt>
                <c:pt idx="126">
                  <c:v>17</c:v>
                </c:pt>
                <c:pt idx="127">
                  <c:v>18</c:v>
                </c:pt>
                <c:pt idx="128">
                  <c:v>17</c:v>
                </c:pt>
                <c:pt idx="129">
                  <c:v>71</c:v>
                </c:pt>
                <c:pt idx="130">
                  <c:v>85</c:v>
                </c:pt>
                <c:pt idx="131">
                  <c:v>50</c:v>
                </c:pt>
                <c:pt idx="132">
                  <c:v>45</c:v>
                </c:pt>
                <c:pt idx="133">
                  <c:v>44</c:v>
                </c:pt>
                <c:pt idx="134">
                  <c:v>10</c:v>
                </c:pt>
                <c:pt idx="135">
                  <c:v>32</c:v>
                </c:pt>
                <c:pt idx="136">
                  <c:v>82</c:v>
                </c:pt>
                <c:pt idx="137">
                  <c:v>67</c:v>
                </c:pt>
                <c:pt idx="138">
                  <c:v>44</c:v>
                </c:pt>
                <c:pt idx="139">
                  <c:v>49</c:v>
                </c:pt>
                <c:pt idx="140">
                  <c:v>55</c:v>
                </c:pt>
                <c:pt idx="141">
                  <c:v>32</c:v>
                </c:pt>
                <c:pt idx="142">
                  <c:v>22</c:v>
                </c:pt>
                <c:pt idx="143">
                  <c:v>59</c:v>
                </c:pt>
                <c:pt idx="144">
                  <c:v>89</c:v>
                </c:pt>
                <c:pt idx="145">
                  <c:v>79</c:v>
                </c:pt>
                <c:pt idx="146">
                  <c:v>77</c:v>
                </c:pt>
                <c:pt idx="147">
                  <c:v>77</c:v>
                </c:pt>
                <c:pt idx="148">
                  <c:v>73</c:v>
                </c:pt>
                <c:pt idx="149">
                  <c:v>43</c:v>
                </c:pt>
                <c:pt idx="150">
                  <c:v>179</c:v>
                </c:pt>
                <c:pt idx="151">
                  <c:v>196</c:v>
                </c:pt>
                <c:pt idx="152">
                  <c:v>186</c:v>
                </c:pt>
                <c:pt idx="153">
                  <c:v>203</c:v>
                </c:pt>
                <c:pt idx="154">
                  <c:v>248</c:v>
                </c:pt>
                <c:pt idx="155">
                  <c:v>130</c:v>
                </c:pt>
                <c:pt idx="156">
                  <c:v>110</c:v>
                </c:pt>
                <c:pt idx="157">
                  <c:v>325</c:v>
                </c:pt>
                <c:pt idx="158">
                  <c:v>323</c:v>
                </c:pt>
                <c:pt idx="159">
                  <c:v>407</c:v>
                </c:pt>
                <c:pt idx="160">
                  <c:v>338</c:v>
                </c:pt>
                <c:pt idx="161">
                  <c:v>423</c:v>
                </c:pt>
                <c:pt idx="162">
                  <c:v>148</c:v>
                </c:pt>
                <c:pt idx="163">
                  <c:v>211</c:v>
                </c:pt>
                <c:pt idx="164">
                  <c:v>456</c:v>
                </c:pt>
                <c:pt idx="165">
                  <c:v>487</c:v>
                </c:pt>
                <c:pt idx="166">
                  <c:v>391</c:v>
                </c:pt>
                <c:pt idx="167">
                  <c:v>357</c:v>
                </c:pt>
                <c:pt idx="168">
                  <c:v>284</c:v>
                </c:pt>
                <c:pt idx="169">
                  <c:v>232</c:v>
                </c:pt>
                <c:pt idx="170">
                  <c:v>122</c:v>
                </c:pt>
                <c:pt idx="171">
                  <c:v>416</c:v>
                </c:pt>
                <c:pt idx="172">
                  <c:v>381</c:v>
                </c:pt>
                <c:pt idx="173">
                  <c:v>300</c:v>
                </c:pt>
                <c:pt idx="174">
                  <c:v>261</c:v>
                </c:pt>
                <c:pt idx="175">
                  <c:v>233</c:v>
                </c:pt>
                <c:pt idx="176">
                  <c:v>141</c:v>
                </c:pt>
                <c:pt idx="177">
                  <c:v>106</c:v>
                </c:pt>
                <c:pt idx="178">
                  <c:v>280</c:v>
                </c:pt>
                <c:pt idx="179">
                  <c:v>295</c:v>
                </c:pt>
                <c:pt idx="180">
                  <c:v>225</c:v>
                </c:pt>
                <c:pt idx="181">
                  <c:v>195</c:v>
                </c:pt>
                <c:pt idx="182">
                  <c:v>1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1.865013478276434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0.08.21</c:v>
                </c:pt>
                <c:pt idx="1">
                  <c:v>21.08.21</c:v>
                </c:pt>
                <c:pt idx="2">
                  <c:v>22.08.21</c:v>
                </c:pt>
                <c:pt idx="3">
                  <c:v>23.08.21</c:v>
                </c:pt>
                <c:pt idx="4">
                  <c:v>24.08.21</c:v>
                </c:pt>
                <c:pt idx="5">
                  <c:v>25.08.21</c:v>
                </c:pt>
                <c:pt idx="6">
                  <c:v>26.08.21</c:v>
                </c:pt>
                <c:pt idx="7">
                  <c:v>27.08.21</c:v>
                </c:pt>
                <c:pt idx="8">
                  <c:v>28.08.21</c:v>
                </c:pt>
                <c:pt idx="9">
                  <c:v>29.08.21</c:v>
                </c:pt>
                <c:pt idx="10">
                  <c:v>30.08.21</c:v>
                </c:pt>
                <c:pt idx="11">
                  <c:v>31.08.21</c:v>
                </c:pt>
                <c:pt idx="12">
                  <c:v>01.09.21</c:v>
                </c:pt>
                <c:pt idx="13">
                  <c:v>02.09.21</c:v>
                </c:pt>
                <c:pt idx="14">
                  <c:v>03.09.21</c:v>
                </c:pt>
                <c:pt idx="15">
                  <c:v>04.09.21</c:v>
                </c:pt>
                <c:pt idx="16">
                  <c:v>05.09.21</c:v>
                </c:pt>
                <c:pt idx="17">
                  <c:v>06.09.21</c:v>
                </c:pt>
                <c:pt idx="18">
                  <c:v>07.09.21</c:v>
                </c:pt>
                <c:pt idx="19">
                  <c:v>08.09.21</c:v>
                </c:pt>
                <c:pt idx="20">
                  <c:v>09.09.21</c:v>
                </c:pt>
                <c:pt idx="21">
                  <c:v>10.09.21</c:v>
                </c:pt>
                <c:pt idx="22">
                  <c:v>11.09.21</c:v>
                </c:pt>
                <c:pt idx="23">
                  <c:v>12.09.21</c:v>
                </c:pt>
                <c:pt idx="24">
                  <c:v>13.09.21</c:v>
                </c:pt>
                <c:pt idx="25">
                  <c:v>14.09.21</c:v>
                </c:pt>
                <c:pt idx="26">
                  <c:v>15.09.21</c:v>
                </c:pt>
                <c:pt idx="27">
                  <c:v>16.09.21</c:v>
                </c:pt>
                <c:pt idx="28">
                  <c:v>17.09.21</c:v>
                </c:pt>
                <c:pt idx="29">
                  <c:v>18.09.21</c:v>
                </c:pt>
                <c:pt idx="30">
                  <c:v>19.09.21</c:v>
                </c:pt>
                <c:pt idx="31">
                  <c:v>20.09.21</c:v>
                </c:pt>
                <c:pt idx="32">
                  <c:v>21.09.21</c:v>
                </c:pt>
                <c:pt idx="33">
                  <c:v>22.09.21</c:v>
                </c:pt>
                <c:pt idx="34">
                  <c:v>23.09.21</c:v>
                </c:pt>
                <c:pt idx="35">
                  <c:v>24.09.21</c:v>
                </c:pt>
                <c:pt idx="36">
                  <c:v>25.09.21</c:v>
                </c:pt>
                <c:pt idx="37">
                  <c:v>26.09.21</c:v>
                </c:pt>
                <c:pt idx="38">
                  <c:v>27.09.21</c:v>
                </c:pt>
                <c:pt idx="39">
                  <c:v>28.09.21</c:v>
                </c:pt>
                <c:pt idx="40">
                  <c:v>29.09.21</c:v>
                </c:pt>
                <c:pt idx="41">
                  <c:v>30.09.21</c:v>
                </c:pt>
                <c:pt idx="42">
                  <c:v>01.10.21</c:v>
                </c:pt>
                <c:pt idx="43">
                  <c:v>02.10.21</c:v>
                </c:pt>
                <c:pt idx="44">
                  <c:v>03.10.21</c:v>
                </c:pt>
                <c:pt idx="45">
                  <c:v>04.10.21</c:v>
                </c:pt>
                <c:pt idx="46">
                  <c:v>05.10.21</c:v>
                </c:pt>
                <c:pt idx="47">
                  <c:v>06.10.21</c:v>
                </c:pt>
                <c:pt idx="48">
                  <c:v>07.10.21</c:v>
                </c:pt>
                <c:pt idx="49">
                  <c:v>08.10.21</c:v>
                </c:pt>
                <c:pt idx="50">
                  <c:v>09.10.21</c:v>
                </c:pt>
                <c:pt idx="51">
                  <c:v>10.10.21</c:v>
                </c:pt>
                <c:pt idx="52">
                  <c:v>11.10.21</c:v>
                </c:pt>
                <c:pt idx="53">
                  <c:v>12.10.21</c:v>
                </c:pt>
                <c:pt idx="54">
                  <c:v>13.10.21</c:v>
                </c:pt>
                <c:pt idx="55">
                  <c:v>14.10.21</c:v>
                </c:pt>
                <c:pt idx="56">
                  <c:v>15.10.21</c:v>
                </c:pt>
                <c:pt idx="57">
                  <c:v>16.10.21</c:v>
                </c:pt>
                <c:pt idx="58">
                  <c:v>17.10.21</c:v>
                </c:pt>
                <c:pt idx="59">
                  <c:v>18.10.21</c:v>
                </c:pt>
                <c:pt idx="60">
                  <c:v>19.10.21</c:v>
                </c:pt>
                <c:pt idx="61">
                  <c:v>20.10.21</c:v>
                </c:pt>
                <c:pt idx="62">
                  <c:v>21.10.21</c:v>
                </c:pt>
                <c:pt idx="63">
                  <c:v>22.10.21</c:v>
                </c:pt>
                <c:pt idx="64">
                  <c:v>23.10.21</c:v>
                </c:pt>
                <c:pt idx="65">
                  <c:v>24.10.21</c:v>
                </c:pt>
                <c:pt idx="66">
                  <c:v>25.10.21</c:v>
                </c:pt>
                <c:pt idx="67">
                  <c:v>26.10.21</c:v>
                </c:pt>
                <c:pt idx="68">
                  <c:v>27.10.21</c:v>
                </c:pt>
                <c:pt idx="69">
                  <c:v>28.10.21</c:v>
                </c:pt>
                <c:pt idx="70">
                  <c:v>29.10.21</c:v>
                </c:pt>
                <c:pt idx="71">
                  <c:v>30.10.21</c:v>
                </c:pt>
                <c:pt idx="72">
                  <c:v>31.10.21</c:v>
                </c:pt>
                <c:pt idx="73">
                  <c:v>01.11.21</c:v>
                </c:pt>
                <c:pt idx="74">
                  <c:v>02.11.21</c:v>
                </c:pt>
                <c:pt idx="75">
                  <c:v>03.11.21</c:v>
                </c:pt>
                <c:pt idx="76">
                  <c:v>04.11.21</c:v>
                </c:pt>
                <c:pt idx="77">
                  <c:v>05.11.21</c:v>
                </c:pt>
                <c:pt idx="78">
                  <c:v>06.11.21</c:v>
                </c:pt>
                <c:pt idx="79">
                  <c:v>07.11.21</c:v>
                </c:pt>
                <c:pt idx="80">
                  <c:v>08.11.21</c:v>
                </c:pt>
                <c:pt idx="81">
                  <c:v>09.11.21</c:v>
                </c:pt>
                <c:pt idx="82">
                  <c:v>10.11.21</c:v>
                </c:pt>
                <c:pt idx="83">
                  <c:v>11.11.21</c:v>
                </c:pt>
                <c:pt idx="84">
                  <c:v>12.11.21</c:v>
                </c:pt>
                <c:pt idx="85">
                  <c:v>13.11.21</c:v>
                </c:pt>
                <c:pt idx="86">
                  <c:v>14.11.21</c:v>
                </c:pt>
                <c:pt idx="87">
                  <c:v>15.11.21</c:v>
                </c:pt>
                <c:pt idx="88">
                  <c:v>16.11.21</c:v>
                </c:pt>
                <c:pt idx="89">
                  <c:v>17.11.21</c:v>
                </c:pt>
                <c:pt idx="90">
                  <c:v>18.11.21</c:v>
                </c:pt>
                <c:pt idx="91">
                  <c:v>19.11.21</c:v>
                </c:pt>
                <c:pt idx="92">
                  <c:v>20.11.21</c:v>
                </c:pt>
                <c:pt idx="93">
                  <c:v>21.11.21</c:v>
                </c:pt>
                <c:pt idx="94">
                  <c:v>22.11.21</c:v>
                </c:pt>
                <c:pt idx="95">
                  <c:v>23.11.21</c:v>
                </c:pt>
                <c:pt idx="96">
                  <c:v>24.11.21</c:v>
                </c:pt>
                <c:pt idx="97">
                  <c:v>25.11.21</c:v>
                </c:pt>
                <c:pt idx="98">
                  <c:v>26.11.21</c:v>
                </c:pt>
                <c:pt idx="99">
                  <c:v>27.11.21</c:v>
                </c:pt>
                <c:pt idx="100">
                  <c:v>28.11.21</c:v>
                </c:pt>
                <c:pt idx="101">
                  <c:v>29.11.21</c:v>
                </c:pt>
                <c:pt idx="102">
                  <c:v>30.11.21</c:v>
                </c:pt>
                <c:pt idx="103">
                  <c:v>01.12.21</c:v>
                </c:pt>
                <c:pt idx="104">
                  <c:v>02.12.21</c:v>
                </c:pt>
                <c:pt idx="105">
                  <c:v>03.12.21</c:v>
                </c:pt>
                <c:pt idx="106">
                  <c:v>04.12.21</c:v>
                </c:pt>
                <c:pt idx="107">
                  <c:v>05.12.21</c:v>
                </c:pt>
                <c:pt idx="108">
                  <c:v>06.12.21</c:v>
                </c:pt>
                <c:pt idx="109">
                  <c:v>07.12.21</c:v>
                </c:pt>
                <c:pt idx="110">
                  <c:v>08.12.21</c:v>
                </c:pt>
                <c:pt idx="111">
                  <c:v>09.12.21</c:v>
                </c:pt>
                <c:pt idx="112">
                  <c:v>10.12.21</c:v>
                </c:pt>
                <c:pt idx="113">
                  <c:v>11.12.21</c:v>
                </c:pt>
                <c:pt idx="114">
                  <c:v>12.12.21</c:v>
                </c:pt>
                <c:pt idx="115">
                  <c:v>13.12.21</c:v>
                </c:pt>
                <c:pt idx="116">
                  <c:v>14.12.21</c:v>
                </c:pt>
                <c:pt idx="117">
                  <c:v>15.12.21</c:v>
                </c:pt>
                <c:pt idx="118">
                  <c:v>16.12.21</c:v>
                </c:pt>
                <c:pt idx="119">
                  <c:v>17.12.21</c:v>
                </c:pt>
                <c:pt idx="120">
                  <c:v>18.12.21</c:v>
                </c:pt>
                <c:pt idx="121">
                  <c:v>19.12.21</c:v>
                </c:pt>
                <c:pt idx="122">
                  <c:v>20.12.21</c:v>
                </c:pt>
                <c:pt idx="123">
                  <c:v>21.12.21</c:v>
                </c:pt>
                <c:pt idx="124">
                  <c:v>22.12.21</c:v>
                </c:pt>
                <c:pt idx="125">
                  <c:v>23.12.21</c:v>
                </c:pt>
                <c:pt idx="126">
                  <c:v>24.12.21</c:v>
                </c:pt>
                <c:pt idx="127">
                  <c:v>25.12.21</c:v>
                </c:pt>
                <c:pt idx="128">
                  <c:v>26.12.21</c:v>
                </c:pt>
                <c:pt idx="129">
                  <c:v>27.12.21</c:v>
                </c:pt>
                <c:pt idx="130">
                  <c:v>28.12.21</c:v>
                </c:pt>
                <c:pt idx="131">
                  <c:v>29.12.21</c:v>
                </c:pt>
                <c:pt idx="132">
                  <c:v>30.12.21</c:v>
                </c:pt>
                <c:pt idx="133">
                  <c:v>31.12.21</c:v>
                </c:pt>
                <c:pt idx="134">
                  <c:v>01.01.22</c:v>
                </c:pt>
                <c:pt idx="135">
                  <c:v>02.01.22</c:v>
                </c:pt>
                <c:pt idx="136">
                  <c:v>03.01.22</c:v>
                </c:pt>
                <c:pt idx="137">
                  <c:v>04.01.22</c:v>
                </c:pt>
                <c:pt idx="138">
                  <c:v>05.01.22</c:v>
                </c:pt>
                <c:pt idx="139">
                  <c:v>06.01.22</c:v>
                </c:pt>
                <c:pt idx="140">
                  <c:v>07.01.22</c:v>
                </c:pt>
                <c:pt idx="141">
                  <c:v>08.01.22</c:v>
                </c:pt>
                <c:pt idx="142">
                  <c:v>09.01.22</c:v>
                </c:pt>
                <c:pt idx="143">
                  <c:v>10.01.22</c:v>
                </c:pt>
                <c:pt idx="144">
                  <c:v>11.01.22</c:v>
                </c:pt>
                <c:pt idx="145">
                  <c:v>12.01.22</c:v>
                </c:pt>
                <c:pt idx="146">
                  <c:v>13.01.22</c:v>
                </c:pt>
                <c:pt idx="147">
                  <c:v>14.01.22</c:v>
                </c:pt>
                <c:pt idx="148">
                  <c:v>15.01.22</c:v>
                </c:pt>
                <c:pt idx="149">
                  <c:v>16.01.22</c:v>
                </c:pt>
                <c:pt idx="150">
                  <c:v>17.01.22</c:v>
                </c:pt>
                <c:pt idx="151">
                  <c:v>18.01.22</c:v>
                </c:pt>
                <c:pt idx="152">
                  <c:v>19.01.22</c:v>
                </c:pt>
                <c:pt idx="153">
                  <c:v>20.01.22</c:v>
                </c:pt>
                <c:pt idx="154">
                  <c:v>21.01.22</c:v>
                </c:pt>
                <c:pt idx="155">
                  <c:v>22.01.22</c:v>
                </c:pt>
                <c:pt idx="156">
                  <c:v>23.01.22</c:v>
                </c:pt>
                <c:pt idx="157">
                  <c:v>24.01.22</c:v>
                </c:pt>
                <c:pt idx="158">
                  <c:v>25.01.22</c:v>
                </c:pt>
                <c:pt idx="159">
                  <c:v>26.01.22</c:v>
                </c:pt>
                <c:pt idx="160">
                  <c:v>27.01.22</c:v>
                </c:pt>
                <c:pt idx="161">
                  <c:v>28.01.22</c:v>
                </c:pt>
                <c:pt idx="162">
                  <c:v>29.01.22</c:v>
                </c:pt>
                <c:pt idx="163">
                  <c:v>30.01.22</c:v>
                </c:pt>
                <c:pt idx="164">
                  <c:v>31.01.22</c:v>
                </c:pt>
                <c:pt idx="165">
                  <c:v>01.02.22</c:v>
                </c:pt>
                <c:pt idx="166">
                  <c:v>02.02.22</c:v>
                </c:pt>
                <c:pt idx="167">
                  <c:v>03.02.22</c:v>
                </c:pt>
                <c:pt idx="168">
                  <c:v>04.02.22</c:v>
                </c:pt>
                <c:pt idx="169">
                  <c:v>05.02.22</c:v>
                </c:pt>
                <c:pt idx="170">
                  <c:v>06.02.22</c:v>
                </c:pt>
                <c:pt idx="171">
                  <c:v>07.02.22</c:v>
                </c:pt>
                <c:pt idx="172">
                  <c:v>08.02.22</c:v>
                </c:pt>
                <c:pt idx="173">
                  <c:v>09.02.22</c:v>
                </c:pt>
                <c:pt idx="174">
                  <c:v>10.02.22</c:v>
                </c:pt>
                <c:pt idx="175">
                  <c:v>11.02.22</c:v>
                </c:pt>
                <c:pt idx="176">
                  <c:v>12.02.22</c:v>
                </c:pt>
                <c:pt idx="177">
                  <c:v>13.02.22</c:v>
                </c:pt>
                <c:pt idx="178">
                  <c:v>14.02.22</c:v>
                </c:pt>
                <c:pt idx="179">
                  <c:v>15.02.22</c:v>
                </c:pt>
                <c:pt idx="180">
                  <c:v>16.02.22</c:v>
                </c:pt>
                <c:pt idx="181">
                  <c:v>17.02.22</c:v>
                </c:pt>
                <c:pt idx="182">
                  <c:v>18.02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  <c:pt idx="4">
                  <c:v>3</c:v>
                </c:pt>
                <c:pt idx="5">
                  <c:v>5</c:v>
                </c:pt>
                <c:pt idx="6">
                  <c:v>2</c:v>
                </c:pt>
                <c:pt idx="7">
                  <c:v>2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2</c:v>
                </c:pt>
                <c:pt idx="13">
                  <c:v>4</c:v>
                </c:pt>
                <c:pt idx="14">
                  <c:v>6</c:v>
                </c:pt>
                <c:pt idx="15">
                  <c:v>5</c:v>
                </c:pt>
                <c:pt idx="16">
                  <c:v>1</c:v>
                </c:pt>
                <c:pt idx="17">
                  <c:v>5</c:v>
                </c:pt>
                <c:pt idx="18">
                  <c:v>4</c:v>
                </c:pt>
                <c:pt idx="19">
                  <c:v>1</c:v>
                </c:pt>
                <c:pt idx="20">
                  <c:v>3</c:v>
                </c:pt>
                <c:pt idx="21">
                  <c:v>2</c:v>
                </c:pt>
                <c:pt idx="22">
                  <c:v>0</c:v>
                </c:pt>
                <c:pt idx="23">
                  <c:v>3</c:v>
                </c:pt>
                <c:pt idx="24">
                  <c:v>2</c:v>
                </c:pt>
                <c:pt idx="25">
                  <c:v>3</c:v>
                </c:pt>
                <c:pt idx="26">
                  <c:v>5</c:v>
                </c:pt>
                <c:pt idx="27">
                  <c:v>8</c:v>
                </c:pt>
                <c:pt idx="28">
                  <c:v>4</c:v>
                </c:pt>
                <c:pt idx="29">
                  <c:v>2</c:v>
                </c:pt>
                <c:pt idx="30">
                  <c:v>5</c:v>
                </c:pt>
                <c:pt idx="31">
                  <c:v>8</c:v>
                </c:pt>
                <c:pt idx="32">
                  <c:v>9</c:v>
                </c:pt>
                <c:pt idx="33">
                  <c:v>8</c:v>
                </c:pt>
                <c:pt idx="34">
                  <c:v>5</c:v>
                </c:pt>
                <c:pt idx="35">
                  <c:v>4</c:v>
                </c:pt>
                <c:pt idx="36">
                  <c:v>4</c:v>
                </c:pt>
                <c:pt idx="37">
                  <c:v>2</c:v>
                </c:pt>
                <c:pt idx="38">
                  <c:v>7</c:v>
                </c:pt>
                <c:pt idx="39">
                  <c:v>6</c:v>
                </c:pt>
                <c:pt idx="40">
                  <c:v>8</c:v>
                </c:pt>
                <c:pt idx="41">
                  <c:v>12</c:v>
                </c:pt>
                <c:pt idx="42">
                  <c:v>8</c:v>
                </c:pt>
                <c:pt idx="43">
                  <c:v>4</c:v>
                </c:pt>
                <c:pt idx="44">
                  <c:v>7</c:v>
                </c:pt>
                <c:pt idx="45">
                  <c:v>9</c:v>
                </c:pt>
                <c:pt idx="46">
                  <c:v>12</c:v>
                </c:pt>
                <c:pt idx="47">
                  <c:v>13</c:v>
                </c:pt>
                <c:pt idx="48">
                  <c:v>14</c:v>
                </c:pt>
                <c:pt idx="49">
                  <c:v>9</c:v>
                </c:pt>
                <c:pt idx="50">
                  <c:v>7</c:v>
                </c:pt>
                <c:pt idx="51">
                  <c:v>5</c:v>
                </c:pt>
                <c:pt idx="52">
                  <c:v>19</c:v>
                </c:pt>
                <c:pt idx="53">
                  <c:v>31</c:v>
                </c:pt>
                <c:pt idx="54">
                  <c:v>19</c:v>
                </c:pt>
                <c:pt idx="55">
                  <c:v>16</c:v>
                </c:pt>
                <c:pt idx="56">
                  <c:v>14</c:v>
                </c:pt>
                <c:pt idx="57">
                  <c:v>9</c:v>
                </c:pt>
                <c:pt idx="58">
                  <c:v>12</c:v>
                </c:pt>
                <c:pt idx="59">
                  <c:v>38</c:v>
                </c:pt>
                <c:pt idx="60">
                  <c:v>53</c:v>
                </c:pt>
                <c:pt idx="61">
                  <c:v>46</c:v>
                </c:pt>
                <c:pt idx="62">
                  <c:v>53</c:v>
                </c:pt>
                <c:pt idx="63">
                  <c:v>42</c:v>
                </c:pt>
                <c:pt idx="64">
                  <c:v>27</c:v>
                </c:pt>
                <c:pt idx="65">
                  <c:v>20</c:v>
                </c:pt>
                <c:pt idx="66">
                  <c:v>76</c:v>
                </c:pt>
                <c:pt idx="67">
                  <c:v>82</c:v>
                </c:pt>
                <c:pt idx="68">
                  <c:v>63</c:v>
                </c:pt>
                <c:pt idx="69">
                  <c:v>39</c:v>
                </c:pt>
                <c:pt idx="70">
                  <c:v>78</c:v>
                </c:pt>
                <c:pt idx="71">
                  <c:v>52</c:v>
                </c:pt>
                <c:pt idx="72">
                  <c:v>40</c:v>
                </c:pt>
                <c:pt idx="73">
                  <c:v>129</c:v>
                </c:pt>
                <c:pt idx="74">
                  <c:v>129</c:v>
                </c:pt>
                <c:pt idx="75">
                  <c:v>102</c:v>
                </c:pt>
                <c:pt idx="76">
                  <c:v>105</c:v>
                </c:pt>
                <c:pt idx="77">
                  <c:v>125</c:v>
                </c:pt>
                <c:pt idx="78">
                  <c:v>53</c:v>
                </c:pt>
                <c:pt idx="79">
                  <c:v>38</c:v>
                </c:pt>
                <c:pt idx="80">
                  <c:v>127</c:v>
                </c:pt>
                <c:pt idx="81">
                  <c:v>134</c:v>
                </c:pt>
                <c:pt idx="82">
                  <c:v>144</c:v>
                </c:pt>
                <c:pt idx="83">
                  <c:v>113</c:v>
                </c:pt>
                <c:pt idx="84">
                  <c:v>160</c:v>
                </c:pt>
                <c:pt idx="85">
                  <c:v>90</c:v>
                </c:pt>
                <c:pt idx="86">
                  <c:v>49</c:v>
                </c:pt>
                <c:pt idx="87">
                  <c:v>156</c:v>
                </c:pt>
                <c:pt idx="88">
                  <c:v>188</c:v>
                </c:pt>
                <c:pt idx="89">
                  <c:v>139</c:v>
                </c:pt>
                <c:pt idx="90">
                  <c:v>156</c:v>
                </c:pt>
                <c:pt idx="91">
                  <c:v>243</c:v>
                </c:pt>
                <c:pt idx="92">
                  <c:v>117</c:v>
                </c:pt>
                <c:pt idx="93">
                  <c:v>86</c:v>
                </c:pt>
                <c:pt idx="94">
                  <c:v>196</c:v>
                </c:pt>
                <c:pt idx="95">
                  <c:v>206</c:v>
                </c:pt>
                <c:pt idx="96">
                  <c:v>172</c:v>
                </c:pt>
                <c:pt idx="97">
                  <c:v>246</c:v>
                </c:pt>
                <c:pt idx="98">
                  <c:v>141</c:v>
                </c:pt>
                <c:pt idx="99">
                  <c:v>108</c:v>
                </c:pt>
                <c:pt idx="100">
                  <c:v>83</c:v>
                </c:pt>
                <c:pt idx="101">
                  <c:v>197</c:v>
                </c:pt>
                <c:pt idx="102">
                  <c:v>182</c:v>
                </c:pt>
                <c:pt idx="103">
                  <c:v>157</c:v>
                </c:pt>
                <c:pt idx="104">
                  <c:v>126</c:v>
                </c:pt>
                <c:pt idx="105">
                  <c:v>152</c:v>
                </c:pt>
                <c:pt idx="106">
                  <c:v>94</c:v>
                </c:pt>
                <c:pt idx="107">
                  <c:v>63</c:v>
                </c:pt>
                <c:pt idx="108">
                  <c:v>185</c:v>
                </c:pt>
                <c:pt idx="109">
                  <c:v>155</c:v>
                </c:pt>
                <c:pt idx="110">
                  <c:v>126</c:v>
                </c:pt>
                <c:pt idx="111">
                  <c:v>108</c:v>
                </c:pt>
                <c:pt idx="112">
                  <c:v>88</c:v>
                </c:pt>
                <c:pt idx="113">
                  <c:v>75</c:v>
                </c:pt>
                <c:pt idx="114">
                  <c:v>59</c:v>
                </c:pt>
                <c:pt idx="115">
                  <c:v>115</c:v>
                </c:pt>
                <c:pt idx="116">
                  <c:v>166</c:v>
                </c:pt>
                <c:pt idx="117">
                  <c:v>88</c:v>
                </c:pt>
                <c:pt idx="118">
                  <c:v>87</c:v>
                </c:pt>
                <c:pt idx="119">
                  <c:v>91</c:v>
                </c:pt>
                <c:pt idx="120">
                  <c:v>57</c:v>
                </c:pt>
                <c:pt idx="121">
                  <c:v>41</c:v>
                </c:pt>
                <c:pt idx="122">
                  <c:v>99</c:v>
                </c:pt>
                <c:pt idx="123">
                  <c:v>92</c:v>
                </c:pt>
                <c:pt idx="124">
                  <c:v>44</c:v>
                </c:pt>
                <c:pt idx="125">
                  <c:v>67</c:v>
                </c:pt>
                <c:pt idx="126">
                  <c:v>20</c:v>
                </c:pt>
                <c:pt idx="127">
                  <c:v>12</c:v>
                </c:pt>
                <c:pt idx="128">
                  <c:v>21</c:v>
                </c:pt>
                <c:pt idx="129">
                  <c:v>67</c:v>
                </c:pt>
                <c:pt idx="130">
                  <c:v>90</c:v>
                </c:pt>
                <c:pt idx="131">
                  <c:v>59</c:v>
                </c:pt>
                <c:pt idx="132">
                  <c:v>57</c:v>
                </c:pt>
                <c:pt idx="133">
                  <c:v>73</c:v>
                </c:pt>
                <c:pt idx="134">
                  <c:v>12</c:v>
                </c:pt>
                <c:pt idx="135">
                  <c:v>22</c:v>
                </c:pt>
                <c:pt idx="136">
                  <c:v>91</c:v>
                </c:pt>
                <c:pt idx="137">
                  <c:v>85</c:v>
                </c:pt>
                <c:pt idx="138">
                  <c:v>68</c:v>
                </c:pt>
                <c:pt idx="139">
                  <c:v>66</c:v>
                </c:pt>
                <c:pt idx="140">
                  <c:v>64</c:v>
                </c:pt>
                <c:pt idx="141">
                  <c:v>30</c:v>
                </c:pt>
                <c:pt idx="142">
                  <c:v>27</c:v>
                </c:pt>
                <c:pt idx="143">
                  <c:v>77</c:v>
                </c:pt>
                <c:pt idx="144">
                  <c:v>106</c:v>
                </c:pt>
                <c:pt idx="145">
                  <c:v>87</c:v>
                </c:pt>
                <c:pt idx="146">
                  <c:v>73</c:v>
                </c:pt>
                <c:pt idx="147">
                  <c:v>93</c:v>
                </c:pt>
                <c:pt idx="148">
                  <c:v>56</c:v>
                </c:pt>
                <c:pt idx="149">
                  <c:v>54</c:v>
                </c:pt>
                <c:pt idx="150">
                  <c:v>178</c:v>
                </c:pt>
                <c:pt idx="151">
                  <c:v>191</c:v>
                </c:pt>
                <c:pt idx="152">
                  <c:v>218</c:v>
                </c:pt>
                <c:pt idx="153">
                  <c:v>215</c:v>
                </c:pt>
                <c:pt idx="154">
                  <c:v>202</c:v>
                </c:pt>
                <c:pt idx="155">
                  <c:v>142</c:v>
                </c:pt>
                <c:pt idx="156">
                  <c:v>109</c:v>
                </c:pt>
                <c:pt idx="157">
                  <c:v>278</c:v>
                </c:pt>
                <c:pt idx="158">
                  <c:v>312</c:v>
                </c:pt>
                <c:pt idx="159">
                  <c:v>397</c:v>
                </c:pt>
                <c:pt idx="160">
                  <c:v>305</c:v>
                </c:pt>
                <c:pt idx="161">
                  <c:v>405</c:v>
                </c:pt>
                <c:pt idx="162">
                  <c:v>149</c:v>
                </c:pt>
                <c:pt idx="163">
                  <c:v>170</c:v>
                </c:pt>
                <c:pt idx="164">
                  <c:v>360</c:v>
                </c:pt>
                <c:pt idx="165">
                  <c:v>475</c:v>
                </c:pt>
                <c:pt idx="166">
                  <c:v>351</c:v>
                </c:pt>
                <c:pt idx="167">
                  <c:v>347</c:v>
                </c:pt>
                <c:pt idx="168">
                  <c:v>288</c:v>
                </c:pt>
                <c:pt idx="169">
                  <c:v>181</c:v>
                </c:pt>
                <c:pt idx="170">
                  <c:v>107</c:v>
                </c:pt>
                <c:pt idx="171">
                  <c:v>414</c:v>
                </c:pt>
                <c:pt idx="172">
                  <c:v>352</c:v>
                </c:pt>
                <c:pt idx="173">
                  <c:v>301</c:v>
                </c:pt>
                <c:pt idx="174">
                  <c:v>251</c:v>
                </c:pt>
                <c:pt idx="175">
                  <c:v>215</c:v>
                </c:pt>
                <c:pt idx="176">
                  <c:v>122</c:v>
                </c:pt>
                <c:pt idx="177">
                  <c:v>85</c:v>
                </c:pt>
                <c:pt idx="178">
                  <c:v>233</c:v>
                </c:pt>
                <c:pt idx="179">
                  <c:v>255</c:v>
                </c:pt>
                <c:pt idx="180">
                  <c:v>170</c:v>
                </c:pt>
                <c:pt idx="181">
                  <c:v>150</c:v>
                </c:pt>
                <c:pt idx="182">
                  <c:v>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ax val="5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8987323987963556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0.08.21</c:v>
                </c:pt>
                <c:pt idx="1">
                  <c:v>21.08.21</c:v>
                </c:pt>
                <c:pt idx="2">
                  <c:v>22.08.21</c:v>
                </c:pt>
                <c:pt idx="3">
                  <c:v>23.08.21</c:v>
                </c:pt>
                <c:pt idx="4">
                  <c:v>24.08.21</c:v>
                </c:pt>
                <c:pt idx="5">
                  <c:v>25.08.21</c:v>
                </c:pt>
                <c:pt idx="6">
                  <c:v>26.08.21</c:v>
                </c:pt>
                <c:pt idx="7">
                  <c:v>27.08.21</c:v>
                </c:pt>
                <c:pt idx="8">
                  <c:v>28.08.21</c:v>
                </c:pt>
                <c:pt idx="9">
                  <c:v>29.08.21</c:v>
                </c:pt>
                <c:pt idx="10">
                  <c:v>30.08.21</c:v>
                </c:pt>
                <c:pt idx="11">
                  <c:v>31.08.21</c:v>
                </c:pt>
                <c:pt idx="12">
                  <c:v>01.09.21</c:v>
                </c:pt>
                <c:pt idx="13">
                  <c:v>02.09.21</c:v>
                </c:pt>
                <c:pt idx="14">
                  <c:v>03.09.21</c:v>
                </c:pt>
                <c:pt idx="15">
                  <c:v>04.09.21</c:v>
                </c:pt>
                <c:pt idx="16">
                  <c:v>05.09.21</c:v>
                </c:pt>
                <c:pt idx="17">
                  <c:v>06.09.21</c:v>
                </c:pt>
                <c:pt idx="18">
                  <c:v>07.09.21</c:v>
                </c:pt>
                <c:pt idx="19">
                  <c:v>08.09.21</c:v>
                </c:pt>
                <c:pt idx="20">
                  <c:v>09.09.21</c:v>
                </c:pt>
                <c:pt idx="21">
                  <c:v>10.09.21</c:v>
                </c:pt>
                <c:pt idx="22">
                  <c:v>11.09.21</c:v>
                </c:pt>
                <c:pt idx="23">
                  <c:v>12.09.21</c:v>
                </c:pt>
                <c:pt idx="24">
                  <c:v>13.09.21</c:v>
                </c:pt>
                <c:pt idx="25">
                  <c:v>14.09.21</c:v>
                </c:pt>
                <c:pt idx="26">
                  <c:v>15.09.21</c:v>
                </c:pt>
                <c:pt idx="27">
                  <c:v>16.09.21</c:v>
                </c:pt>
                <c:pt idx="28">
                  <c:v>17.09.21</c:v>
                </c:pt>
                <c:pt idx="29">
                  <c:v>18.09.21</c:v>
                </c:pt>
                <c:pt idx="30">
                  <c:v>19.09.21</c:v>
                </c:pt>
                <c:pt idx="31">
                  <c:v>20.09.21</c:v>
                </c:pt>
                <c:pt idx="32">
                  <c:v>21.09.21</c:v>
                </c:pt>
                <c:pt idx="33">
                  <c:v>22.09.21</c:v>
                </c:pt>
                <c:pt idx="34">
                  <c:v>23.09.21</c:v>
                </c:pt>
                <c:pt idx="35">
                  <c:v>24.09.21</c:v>
                </c:pt>
                <c:pt idx="36">
                  <c:v>25.09.21</c:v>
                </c:pt>
                <c:pt idx="37">
                  <c:v>26.09.21</c:v>
                </c:pt>
                <c:pt idx="38">
                  <c:v>27.09.21</c:v>
                </c:pt>
                <c:pt idx="39">
                  <c:v>28.09.21</c:v>
                </c:pt>
                <c:pt idx="40">
                  <c:v>29.09.21</c:v>
                </c:pt>
                <c:pt idx="41">
                  <c:v>30.09.21</c:v>
                </c:pt>
                <c:pt idx="42">
                  <c:v>01.10.21</c:v>
                </c:pt>
                <c:pt idx="43">
                  <c:v>02.10.21</c:v>
                </c:pt>
                <c:pt idx="44">
                  <c:v>03.10.21</c:v>
                </c:pt>
                <c:pt idx="45">
                  <c:v>04.10.21</c:v>
                </c:pt>
                <c:pt idx="46">
                  <c:v>05.10.21</c:v>
                </c:pt>
                <c:pt idx="47">
                  <c:v>06.10.21</c:v>
                </c:pt>
                <c:pt idx="48">
                  <c:v>07.10.21</c:v>
                </c:pt>
                <c:pt idx="49">
                  <c:v>08.10.21</c:v>
                </c:pt>
                <c:pt idx="50">
                  <c:v>09.10.21</c:v>
                </c:pt>
                <c:pt idx="51">
                  <c:v>10.10.21</c:v>
                </c:pt>
                <c:pt idx="52">
                  <c:v>11.10.21</c:v>
                </c:pt>
                <c:pt idx="53">
                  <c:v>12.10.21</c:v>
                </c:pt>
                <c:pt idx="54">
                  <c:v>13.10.21</c:v>
                </c:pt>
                <c:pt idx="55">
                  <c:v>14.10.21</c:v>
                </c:pt>
                <c:pt idx="56">
                  <c:v>15.10.21</c:v>
                </c:pt>
                <c:pt idx="57">
                  <c:v>16.10.21</c:v>
                </c:pt>
                <c:pt idx="58">
                  <c:v>17.10.21</c:v>
                </c:pt>
                <c:pt idx="59">
                  <c:v>18.10.21</c:v>
                </c:pt>
                <c:pt idx="60">
                  <c:v>19.10.21</c:v>
                </c:pt>
                <c:pt idx="61">
                  <c:v>20.10.21</c:v>
                </c:pt>
                <c:pt idx="62">
                  <c:v>21.10.21</c:v>
                </c:pt>
                <c:pt idx="63">
                  <c:v>22.10.21</c:v>
                </c:pt>
                <c:pt idx="64">
                  <c:v>23.10.21</c:v>
                </c:pt>
                <c:pt idx="65">
                  <c:v>24.10.21</c:v>
                </c:pt>
                <c:pt idx="66">
                  <c:v>25.10.21</c:v>
                </c:pt>
                <c:pt idx="67">
                  <c:v>26.10.21</c:v>
                </c:pt>
                <c:pt idx="68">
                  <c:v>27.10.21</c:v>
                </c:pt>
                <c:pt idx="69">
                  <c:v>28.10.21</c:v>
                </c:pt>
                <c:pt idx="70">
                  <c:v>29.10.21</c:v>
                </c:pt>
                <c:pt idx="71">
                  <c:v>30.10.21</c:v>
                </c:pt>
                <c:pt idx="72">
                  <c:v>31.10.21</c:v>
                </c:pt>
                <c:pt idx="73">
                  <c:v>01.11.21</c:v>
                </c:pt>
                <c:pt idx="74">
                  <c:v>02.11.21</c:v>
                </c:pt>
                <c:pt idx="75">
                  <c:v>03.11.21</c:v>
                </c:pt>
                <c:pt idx="76">
                  <c:v>04.11.21</c:v>
                </c:pt>
                <c:pt idx="77">
                  <c:v>05.11.21</c:v>
                </c:pt>
                <c:pt idx="78">
                  <c:v>06.11.21</c:v>
                </c:pt>
                <c:pt idx="79">
                  <c:v>07.11.21</c:v>
                </c:pt>
                <c:pt idx="80">
                  <c:v>08.11.21</c:v>
                </c:pt>
                <c:pt idx="81">
                  <c:v>09.11.21</c:v>
                </c:pt>
                <c:pt idx="82">
                  <c:v>10.11.21</c:v>
                </c:pt>
                <c:pt idx="83">
                  <c:v>11.11.21</c:v>
                </c:pt>
                <c:pt idx="84">
                  <c:v>12.11.21</c:v>
                </c:pt>
                <c:pt idx="85">
                  <c:v>13.11.21</c:v>
                </c:pt>
                <c:pt idx="86">
                  <c:v>14.11.21</c:v>
                </c:pt>
                <c:pt idx="87">
                  <c:v>15.11.21</c:v>
                </c:pt>
                <c:pt idx="88">
                  <c:v>16.11.21</c:v>
                </c:pt>
                <c:pt idx="89">
                  <c:v>17.11.21</c:v>
                </c:pt>
                <c:pt idx="90">
                  <c:v>18.11.21</c:v>
                </c:pt>
                <c:pt idx="91">
                  <c:v>19.11.21</c:v>
                </c:pt>
                <c:pt idx="92">
                  <c:v>20.11.21</c:v>
                </c:pt>
                <c:pt idx="93">
                  <c:v>21.11.21</c:v>
                </c:pt>
                <c:pt idx="94">
                  <c:v>22.11.21</c:v>
                </c:pt>
                <c:pt idx="95">
                  <c:v>23.11.21</c:v>
                </c:pt>
                <c:pt idx="96">
                  <c:v>24.11.21</c:v>
                </c:pt>
                <c:pt idx="97">
                  <c:v>25.11.21</c:v>
                </c:pt>
                <c:pt idx="98">
                  <c:v>26.11.21</c:v>
                </c:pt>
                <c:pt idx="99">
                  <c:v>27.11.21</c:v>
                </c:pt>
                <c:pt idx="100">
                  <c:v>28.11.21</c:v>
                </c:pt>
                <c:pt idx="101">
                  <c:v>29.11.21</c:v>
                </c:pt>
                <c:pt idx="102">
                  <c:v>30.11.21</c:v>
                </c:pt>
                <c:pt idx="103">
                  <c:v>01.12.21</c:v>
                </c:pt>
                <c:pt idx="104">
                  <c:v>02.12.21</c:v>
                </c:pt>
                <c:pt idx="105">
                  <c:v>03.12.21</c:v>
                </c:pt>
                <c:pt idx="106">
                  <c:v>04.12.21</c:v>
                </c:pt>
                <c:pt idx="107">
                  <c:v>05.12.21</c:v>
                </c:pt>
                <c:pt idx="108">
                  <c:v>06.12.21</c:v>
                </c:pt>
                <c:pt idx="109">
                  <c:v>07.12.21</c:v>
                </c:pt>
                <c:pt idx="110">
                  <c:v>08.12.21</c:v>
                </c:pt>
                <c:pt idx="111">
                  <c:v>09.12.21</c:v>
                </c:pt>
                <c:pt idx="112">
                  <c:v>10.12.21</c:v>
                </c:pt>
                <c:pt idx="113">
                  <c:v>11.12.21</c:v>
                </c:pt>
                <c:pt idx="114">
                  <c:v>12.12.21</c:v>
                </c:pt>
                <c:pt idx="115">
                  <c:v>13.12.21</c:v>
                </c:pt>
                <c:pt idx="116">
                  <c:v>14.12.21</c:v>
                </c:pt>
                <c:pt idx="117">
                  <c:v>15.12.21</c:v>
                </c:pt>
                <c:pt idx="118">
                  <c:v>16.12.21</c:v>
                </c:pt>
                <c:pt idx="119">
                  <c:v>17.12.21</c:v>
                </c:pt>
                <c:pt idx="120">
                  <c:v>18.12.21</c:v>
                </c:pt>
                <c:pt idx="121">
                  <c:v>19.12.21</c:v>
                </c:pt>
                <c:pt idx="122">
                  <c:v>20.12.21</c:v>
                </c:pt>
                <c:pt idx="123">
                  <c:v>21.12.21</c:v>
                </c:pt>
                <c:pt idx="124">
                  <c:v>22.12.21</c:v>
                </c:pt>
                <c:pt idx="125">
                  <c:v>23.12.21</c:v>
                </c:pt>
                <c:pt idx="126">
                  <c:v>24.12.21</c:v>
                </c:pt>
                <c:pt idx="127">
                  <c:v>25.12.21</c:v>
                </c:pt>
                <c:pt idx="128">
                  <c:v>26.12.21</c:v>
                </c:pt>
                <c:pt idx="129">
                  <c:v>27.12.21</c:v>
                </c:pt>
                <c:pt idx="130">
                  <c:v>28.12.21</c:v>
                </c:pt>
                <c:pt idx="131">
                  <c:v>29.12.21</c:v>
                </c:pt>
                <c:pt idx="132">
                  <c:v>30.12.21</c:v>
                </c:pt>
                <c:pt idx="133">
                  <c:v>31.12.21</c:v>
                </c:pt>
                <c:pt idx="134">
                  <c:v>01.01.22</c:v>
                </c:pt>
                <c:pt idx="135">
                  <c:v>02.01.22</c:v>
                </c:pt>
                <c:pt idx="136">
                  <c:v>03.01.22</c:v>
                </c:pt>
                <c:pt idx="137">
                  <c:v>04.01.22</c:v>
                </c:pt>
                <c:pt idx="138">
                  <c:v>05.01.22</c:v>
                </c:pt>
                <c:pt idx="139">
                  <c:v>06.01.22</c:v>
                </c:pt>
                <c:pt idx="140">
                  <c:v>07.01.22</c:v>
                </c:pt>
                <c:pt idx="141">
                  <c:v>08.01.22</c:v>
                </c:pt>
                <c:pt idx="142">
                  <c:v>09.01.22</c:v>
                </c:pt>
                <c:pt idx="143">
                  <c:v>10.01.22</c:v>
                </c:pt>
                <c:pt idx="144">
                  <c:v>11.01.22</c:v>
                </c:pt>
                <c:pt idx="145">
                  <c:v>12.01.22</c:v>
                </c:pt>
                <c:pt idx="146">
                  <c:v>13.01.22</c:v>
                </c:pt>
                <c:pt idx="147">
                  <c:v>14.01.22</c:v>
                </c:pt>
                <c:pt idx="148">
                  <c:v>15.01.22</c:v>
                </c:pt>
                <c:pt idx="149">
                  <c:v>16.01.22</c:v>
                </c:pt>
                <c:pt idx="150">
                  <c:v>17.01.22</c:v>
                </c:pt>
                <c:pt idx="151">
                  <c:v>18.01.22</c:v>
                </c:pt>
                <c:pt idx="152">
                  <c:v>19.01.22</c:v>
                </c:pt>
                <c:pt idx="153">
                  <c:v>20.01.22</c:v>
                </c:pt>
                <c:pt idx="154">
                  <c:v>21.01.22</c:v>
                </c:pt>
                <c:pt idx="155">
                  <c:v>22.01.22</c:v>
                </c:pt>
                <c:pt idx="156">
                  <c:v>23.01.22</c:v>
                </c:pt>
                <c:pt idx="157">
                  <c:v>24.01.22</c:v>
                </c:pt>
                <c:pt idx="158">
                  <c:v>25.01.22</c:v>
                </c:pt>
                <c:pt idx="159">
                  <c:v>26.01.22</c:v>
                </c:pt>
                <c:pt idx="160">
                  <c:v>27.01.22</c:v>
                </c:pt>
                <c:pt idx="161">
                  <c:v>28.01.22</c:v>
                </c:pt>
                <c:pt idx="162">
                  <c:v>29.01.22</c:v>
                </c:pt>
                <c:pt idx="163">
                  <c:v>30.01.22</c:v>
                </c:pt>
                <c:pt idx="164">
                  <c:v>31.01.22</c:v>
                </c:pt>
                <c:pt idx="165">
                  <c:v>01.02.22</c:v>
                </c:pt>
                <c:pt idx="166">
                  <c:v>02.02.22</c:v>
                </c:pt>
                <c:pt idx="167">
                  <c:v>03.02.22</c:v>
                </c:pt>
                <c:pt idx="168">
                  <c:v>04.02.22</c:v>
                </c:pt>
                <c:pt idx="169">
                  <c:v>05.02.22</c:v>
                </c:pt>
                <c:pt idx="170">
                  <c:v>06.02.22</c:v>
                </c:pt>
                <c:pt idx="171">
                  <c:v>07.02.22</c:v>
                </c:pt>
                <c:pt idx="172">
                  <c:v>08.02.22</c:v>
                </c:pt>
                <c:pt idx="173">
                  <c:v>09.02.22</c:v>
                </c:pt>
                <c:pt idx="174">
                  <c:v>10.02.22</c:v>
                </c:pt>
                <c:pt idx="175">
                  <c:v>11.02.22</c:v>
                </c:pt>
                <c:pt idx="176">
                  <c:v>12.02.22</c:v>
                </c:pt>
                <c:pt idx="177">
                  <c:v>13.02.22</c:v>
                </c:pt>
                <c:pt idx="178">
                  <c:v>14.02.22</c:v>
                </c:pt>
                <c:pt idx="179">
                  <c:v>15.02.22</c:v>
                </c:pt>
                <c:pt idx="180">
                  <c:v>16.02.22</c:v>
                </c:pt>
                <c:pt idx="181">
                  <c:v>17.02.22</c:v>
                </c:pt>
                <c:pt idx="182">
                  <c:v>18.02.22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46</c:v>
                </c:pt>
                <c:pt idx="1">
                  <c:v>45</c:v>
                </c:pt>
                <c:pt idx="2">
                  <c:v>43</c:v>
                </c:pt>
                <c:pt idx="3">
                  <c:v>44</c:v>
                </c:pt>
                <c:pt idx="4">
                  <c:v>43</c:v>
                </c:pt>
                <c:pt idx="5">
                  <c:v>41</c:v>
                </c:pt>
                <c:pt idx="6">
                  <c:v>42</c:v>
                </c:pt>
                <c:pt idx="7">
                  <c:v>42</c:v>
                </c:pt>
                <c:pt idx="8">
                  <c:v>43</c:v>
                </c:pt>
                <c:pt idx="9">
                  <c:v>42</c:v>
                </c:pt>
                <c:pt idx="10">
                  <c:v>40</c:v>
                </c:pt>
                <c:pt idx="11">
                  <c:v>44</c:v>
                </c:pt>
                <c:pt idx="12">
                  <c:v>47</c:v>
                </c:pt>
                <c:pt idx="13">
                  <c:v>48</c:v>
                </c:pt>
                <c:pt idx="14">
                  <c:v>48</c:v>
                </c:pt>
                <c:pt idx="15">
                  <c:v>51</c:v>
                </c:pt>
                <c:pt idx="16">
                  <c:v>52</c:v>
                </c:pt>
                <c:pt idx="17">
                  <c:v>50</c:v>
                </c:pt>
                <c:pt idx="18">
                  <c:v>51</c:v>
                </c:pt>
                <c:pt idx="19">
                  <c:v>50</c:v>
                </c:pt>
                <c:pt idx="20">
                  <c:v>50</c:v>
                </c:pt>
                <c:pt idx="21">
                  <c:v>51</c:v>
                </c:pt>
                <c:pt idx="22">
                  <c:v>54</c:v>
                </c:pt>
                <c:pt idx="23">
                  <c:v>53</c:v>
                </c:pt>
                <c:pt idx="24">
                  <c:v>55</c:v>
                </c:pt>
                <c:pt idx="25">
                  <c:v>54</c:v>
                </c:pt>
                <c:pt idx="26">
                  <c:v>51</c:v>
                </c:pt>
                <c:pt idx="27">
                  <c:v>52</c:v>
                </c:pt>
                <c:pt idx="28">
                  <c:v>52</c:v>
                </c:pt>
                <c:pt idx="29">
                  <c:v>51</c:v>
                </c:pt>
                <c:pt idx="30">
                  <c:v>51</c:v>
                </c:pt>
                <c:pt idx="31">
                  <c:v>49</c:v>
                </c:pt>
                <c:pt idx="32">
                  <c:v>52</c:v>
                </c:pt>
                <c:pt idx="33">
                  <c:v>55</c:v>
                </c:pt>
                <c:pt idx="34">
                  <c:v>55</c:v>
                </c:pt>
                <c:pt idx="35">
                  <c:v>56</c:v>
                </c:pt>
                <c:pt idx="36">
                  <c:v>54</c:v>
                </c:pt>
                <c:pt idx="37">
                  <c:v>54</c:v>
                </c:pt>
                <c:pt idx="38">
                  <c:v>56</c:v>
                </c:pt>
                <c:pt idx="39">
                  <c:v>60</c:v>
                </c:pt>
                <c:pt idx="40">
                  <c:v>63</c:v>
                </c:pt>
                <c:pt idx="41">
                  <c:v>71</c:v>
                </c:pt>
                <c:pt idx="42">
                  <c:v>72</c:v>
                </c:pt>
                <c:pt idx="43">
                  <c:v>76</c:v>
                </c:pt>
                <c:pt idx="44">
                  <c:v>76</c:v>
                </c:pt>
                <c:pt idx="45">
                  <c:v>75</c:v>
                </c:pt>
                <c:pt idx="46">
                  <c:v>74</c:v>
                </c:pt>
                <c:pt idx="47">
                  <c:v>75</c:v>
                </c:pt>
                <c:pt idx="48">
                  <c:v>80</c:v>
                </c:pt>
                <c:pt idx="49">
                  <c:v>83</c:v>
                </c:pt>
                <c:pt idx="50">
                  <c:v>84</c:v>
                </c:pt>
                <c:pt idx="51">
                  <c:v>83</c:v>
                </c:pt>
                <c:pt idx="52">
                  <c:v>77</c:v>
                </c:pt>
                <c:pt idx="53">
                  <c:v>86</c:v>
                </c:pt>
                <c:pt idx="54">
                  <c:v>83</c:v>
                </c:pt>
                <c:pt idx="55">
                  <c:v>86</c:v>
                </c:pt>
                <c:pt idx="56">
                  <c:v>89</c:v>
                </c:pt>
                <c:pt idx="57">
                  <c:v>92</c:v>
                </c:pt>
                <c:pt idx="58">
                  <c:v>98</c:v>
                </c:pt>
                <c:pt idx="59">
                  <c:v>115</c:v>
                </c:pt>
                <c:pt idx="60">
                  <c:v>128</c:v>
                </c:pt>
                <c:pt idx="61">
                  <c:v>136</c:v>
                </c:pt>
                <c:pt idx="62">
                  <c:v>143</c:v>
                </c:pt>
                <c:pt idx="63">
                  <c:v>154</c:v>
                </c:pt>
                <c:pt idx="64">
                  <c:v>167</c:v>
                </c:pt>
                <c:pt idx="65">
                  <c:v>177</c:v>
                </c:pt>
                <c:pt idx="66">
                  <c:v>202</c:v>
                </c:pt>
                <c:pt idx="67">
                  <c:v>209</c:v>
                </c:pt>
                <c:pt idx="68">
                  <c:v>230</c:v>
                </c:pt>
                <c:pt idx="69">
                  <c:v>244</c:v>
                </c:pt>
                <c:pt idx="70">
                  <c:v>274</c:v>
                </c:pt>
                <c:pt idx="71">
                  <c:v>290</c:v>
                </c:pt>
                <c:pt idx="72">
                  <c:v>296</c:v>
                </c:pt>
                <c:pt idx="73">
                  <c:v>335</c:v>
                </c:pt>
                <c:pt idx="74">
                  <c:v>356</c:v>
                </c:pt>
                <c:pt idx="75">
                  <c:v>379</c:v>
                </c:pt>
                <c:pt idx="76">
                  <c:v>393</c:v>
                </c:pt>
                <c:pt idx="77">
                  <c:v>411</c:v>
                </c:pt>
                <c:pt idx="78">
                  <c:v>419</c:v>
                </c:pt>
                <c:pt idx="79">
                  <c:v>427</c:v>
                </c:pt>
                <c:pt idx="80">
                  <c:v>448</c:v>
                </c:pt>
                <c:pt idx="81">
                  <c:v>479</c:v>
                </c:pt>
                <c:pt idx="82">
                  <c:v>493</c:v>
                </c:pt>
                <c:pt idx="83">
                  <c:v>525</c:v>
                </c:pt>
                <c:pt idx="84">
                  <c:v>523</c:v>
                </c:pt>
                <c:pt idx="85">
                  <c:v>557</c:v>
                </c:pt>
                <c:pt idx="86">
                  <c:v>562</c:v>
                </c:pt>
                <c:pt idx="87">
                  <c:v>562</c:v>
                </c:pt>
                <c:pt idx="88">
                  <c:v>587</c:v>
                </c:pt>
                <c:pt idx="89">
                  <c:v>592</c:v>
                </c:pt>
                <c:pt idx="90">
                  <c:v>616</c:v>
                </c:pt>
                <c:pt idx="91">
                  <c:v>657</c:v>
                </c:pt>
                <c:pt idx="92">
                  <c:v>686</c:v>
                </c:pt>
                <c:pt idx="93">
                  <c:v>691</c:v>
                </c:pt>
                <c:pt idx="94">
                  <c:v>688</c:v>
                </c:pt>
                <c:pt idx="95">
                  <c:v>724</c:v>
                </c:pt>
                <c:pt idx="96">
                  <c:v>712</c:v>
                </c:pt>
                <c:pt idx="97">
                  <c:v>730</c:v>
                </c:pt>
                <c:pt idx="98">
                  <c:v>719</c:v>
                </c:pt>
                <c:pt idx="99">
                  <c:v>726</c:v>
                </c:pt>
                <c:pt idx="100">
                  <c:v>739</c:v>
                </c:pt>
                <c:pt idx="101">
                  <c:v>729</c:v>
                </c:pt>
                <c:pt idx="102">
                  <c:v>723</c:v>
                </c:pt>
                <c:pt idx="103">
                  <c:v>740</c:v>
                </c:pt>
                <c:pt idx="104">
                  <c:v>713</c:v>
                </c:pt>
                <c:pt idx="105">
                  <c:v>685</c:v>
                </c:pt>
                <c:pt idx="106">
                  <c:v>678</c:v>
                </c:pt>
                <c:pt idx="107">
                  <c:v>660</c:v>
                </c:pt>
                <c:pt idx="108">
                  <c:v>619</c:v>
                </c:pt>
                <c:pt idx="109">
                  <c:v>600</c:v>
                </c:pt>
                <c:pt idx="110">
                  <c:v>588</c:v>
                </c:pt>
                <c:pt idx="111">
                  <c:v>560</c:v>
                </c:pt>
                <c:pt idx="112">
                  <c:v>540</c:v>
                </c:pt>
                <c:pt idx="113">
                  <c:v>529</c:v>
                </c:pt>
                <c:pt idx="114">
                  <c:v>509</c:v>
                </c:pt>
                <c:pt idx="115">
                  <c:v>477</c:v>
                </c:pt>
                <c:pt idx="116">
                  <c:v>455</c:v>
                </c:pt>
                <c:pt idx="117">
                  <c:v>432</c:v>
                </c:pt>
                <c:pt idx="118">
                  <c:v>405</c:v>
                </c:pt>
                <c:pt idx="119">
                  <c:v>381</c:v>
                </c:pt>
                <c:pt idx="120">
                  <c:v>378</c:v>
                </c:pt>
                <c:pt idx="121">
                  <c:v>376</c:v>
                </c:pt>
                <c:pt idx="122">
                  <c:v>351</c:v>
                </c:pt>
                <c:pt idx="123">
                  <c:v>350</c:v>
                </c:pt>
                <c:pt idx="124">
                  <c:v>336</c:v>
                </c:pt>
                <c:pt idx="125">
                  <c:v>327</c:v>
                </c:pt>
                <c:pt idx="126">
                  <c:v>300</c:v>
                </c:pt>
                <c:pt idx="127">
                  <c:v>297</c:v>
                </c:pt>
                <c:pt idx="128">
                  <c:v>293</c:v>
                </c:pt>
                <c:pt idx="129">
                  <c:v>284</c:v>
                </c:pt>
                <c:pt idx="130">
                  <c:v>291</c:v>
                </c:pt>
                <c:pt idx="131">
                  <c:v>294</c:v>
                </c:pt>
                <c:pt idx="132">
                  <c:v>295</c:v>
                </c:pt>
                <c:pt idx="133">
                  <c:v>291</c:v>
                </c:pt>
                <c:pt idx="134">
                  <c:v>281</c:v>
                </c:pt>
                <c:pt idx="135">
                  <c:v>289</c:v>
                </c:pt>
                <c:pt idx="136">
                  <c:v>288</c:v>
                </c:pt>
                <c:pt idx="137">
                  <c:v>292</c:v>
                </c:pt>
                <c:pt idx="138">
                  <c:v>295</c:v>
                </c:pt>
                <c:pt idx="139">
                  <c:v>303</c:v>
                </c:pt>
                <c:pt idx="140">
                  <c:v>316</c:v>
                </c:pt>
                <c:pt idx="141">
                  <c:v>319</c:v>
                </c:pt>
                <c:pt idx="142">
                  <c:v>325</c:v>
                </c:pt>
                <c:pt idx="143">
                  <c:v>324</c:v>
                </c:pt>
                <c:pt idx="144">
                  <c:v>341</c:v>
                </c:pt>
                <c:pt idx="145">
                  <c:v>390</c:v>
                </c:pt>
                <c:pt idx="146">
                  <c:v>407</c:v>
                </c:pt>
                <c:pt idx="147">
                  <c:v>436</c:v>
                </c:pt>
                <c:pt idx="148">
                  <c:v>455</c:v>
                </c:pt>
                <c:pt idx="149">
                  <c:v>474</c:v>
                </c:pt>
                <c:pt idx="150">
                  <c:v>547</c:v>
                </c:pt>
                <c:pt idx="151">
                  <c:v>614</c:v>
                </c:pt>
                <c:pt idx="152">
                  <c:v>702</c:v>
                </c:pt>
                <c:pt idx="153">
                  <c:v>791</c:v>
                </c:pt>
                <c:pt idx="154">
                  <c:v>799</c:v>
                </c:pt>
                <c:pt idx="155">
                  <c:v>783</c:v>
                </c:pt>
                <c:pt idx="156">
                  <c:v>799</c:v>
                </c:pt>
                <c:pt idx="157">
                  <c:v>888</c:v>
                </c:pt>
                <c:pt idx="158">
                  <c:v>999</c:v>
                </c:pt>
                <c:pt idx="159">
                  <c:v>1120</c:v>
                </c:pt>
                <c:pt idx="160">
                  <c:v>1139</c:v>
                </c:pt>
                <c:pt idx="161">
                  <c:v>1191</c:v>
                </c:pt>
                <c:pt idx="162">
                  <c:v>1140</c:v>
                </c:pt>
                <c:pt idx="163">
                  <c:v>1139</c:v>
                </c:pt>
                <c:pt idx="164">
                  <c:v>1212</c:v>
                </c:pt>
                <c:pt idx="165">
                  <c:v>1351</c:v>
                </c:pt>
                <c:pt idx="166">
                  <c:v>1400</c:v>
                </c:pt>
                <c:pt idx="167">
                  <c:v>1339</c:v>
                </c:pt>
                <c:pt idx="168">
                  <c:v>1271</c:v>
                </c:pt>
                <c:pt idx="169">
                  <c:v>1215</c:v>
                </c:pt>
                <c:pt idx="170">
                  <c:v>1130</c:v>
                </c:pt>
                <c:pt idx="171">
                  <c:v>1133</c:v>
                </c:pt>
                <c:pt idx="172">
                  <c:v>1177</c:v>
                </c:pt>
                <c:pt idx="173">
                  <c:v>1173</c:v>
                </c:pt>
                <c:pt idx="174">
                  <c:v>1057</c:v>
                </c:pt>
                <c:pt idx="175">
                  <c:v>995</c:v>
                </c:pt>
                <c:pt idx="176">
                  <c:v>880</c:v>
                </c:pt>
                <c:pt idx="177">
                  <c:v>799</c:v>
                </c:pt>
                <c:pt idx="178">
                  <c:v>820</c:v>
                </c:pt>
                <c:pt idx="179">
                  <c:v>851</c:v>
                </c:pt>
                <c:pt idx="180">
                  <c:v>866</c:v>
                </c:pt>
                <c:pt idx="181">
                  <c:v>782</c:v>
                </c:pt>
                <c:pt idx="182">
                  <c:v>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1.7754105636927238E-3"/>
                  <c:y val="9.1782611050075675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20.08.21</c:v>
                </c:pt>
                <c:pt idx="1">
                  <c:v>21.08.21</c:v>
                </c:pt>
                <c:pt idx="2">
                  <c:v>22.08.21</c:v>
                </c:pt>
                <c:pt idx="3">
                  <c:v>23.08.21</c:v>
                </c:pt>
                <c:pt idx="4">
                  <c:v>24.08.21</c:v>
                </c:pt>
                <c:pt idx="5">
                  <c:v>25.08.21</c:v>
                </c:pt>
                <c:pt idx="6">
                  <c:v>26.08.21</c:v>
                </c:pt>
                <c:pt idx="7">
                  <c:v>27.08.21</c:v>
                </c:pt>
                <c:pt idx="8">
                  <c:v>28.08.21</c:v>
                </c:pt>
                <c:pt idx="9">
                  <c:v>29.08.21</c:v>
                </c:pt>
                <c:pt idx="10">
                  <c:v>30.08.21</c:v>
                </c:pt>
                <c:pt idx="11">
                  <c:v>31.08.21</c:v>
                </c:pt>
                <c:pt idx="12">
                  <c:v>01.09.21</c:v>
                </c:pt>
                <c:pt idx="13">
                  <c:v>02.09.21</c:v>
                </c:pt>
                <c:pt idx="14">
                  <c:v>03.09.21</c:v>
                </c:pt>
                <c:pt idx="15">
                  <c:v>04.09.21</c:v>
                </c:pt>
                <c:pt idx="16">
                  <c:v>05.09.21</c:v>
                </c:pt>
                <c:pt idx="17">
                  <c:v>06.09.21</c:v>
                </c:pt>
                <c:pt idx="18">
                  <c:v>07.09.21</c:v>
                </c:pt>
                <c:pt idx="19">
                  <c:v>08.09.21</c:v>
                </c:pt>
                <c:pt idx="20">
                  <c:v>09.09.21</c:v>
                </c:pt>
                <c:pt idx="21">
                  <c:v>10.09.21</c:v>
                </c:pt>
                <c:pt idx="22">
                  <c:v>11.09.21</c:v>
                </c:pt>
                <c:pt idx="23">
                  <c:v>12.09.21</c:v>
                </c:pt>
                <c:pt idx="24">
                  <c:v>13.09.21</c:v>
                </c:pt>
                <c:pt idx="25">
                  <c:v>14.09.21</c:v>
                </c:pt>
                <c:pt idx="26">
                  <c:v>15.09.21</c:v>
                </c:pt>
                <c:pt idx="27">
                  <c:v>16.09.21</c:v>
                </c:pt>
                <c:pt idx="28">
                  <c:v>17.09.21</c:v>
                </c:pt>
                <c:pt idx="29">
                  <c:v>18.09.21</c:v>
                </c:pt>
                <c:pt idx="30">
                  <c:v>19.09.21</c:v>
                </c:pt>
                <c:pt idx="31">
                  <c:v>20.09.21</c:v>
                </c:pt>
                <c:pt idx="32">
                  <c:v>21.09.21</c:v>
                </c:pt>
                <c:pt idx="33">
                  <c:v>22.09.21</c:v>
                </c:pt>
                <c:pt idx="34">
                  <c:v>23.09.21</c:v>
                </c:pt>
                <c:pt idx="35">
                  <c:v>24.09.21</c:v>
                </c:pt>
                <c:pt idx="36">
                  <c:v>25.09.21</c:v>
                </c:pt>
                <c:pt idx="37">
                  <c:v>26.09.21</c:v>
                </c:pt>
                <c:pt idx="38">
                  <c:v>27.09.21</c:v>
                </c:pt>
                <c:pt idx="39">
                  <c:v>28.09.21</c:v>
                </c:pt>
                <c:pt idx="40">
                  <c:v>29.09.21</c:v>
                </c:pt>
                <c:pt idx="41">
                  <c:v>30.09.21</c:v>
                </c:pt>
                <c:pt idx="42">
                  <c:v>01.10.21</c:v>
                </c:pt>
                <c:pt idx="43">
                  <c:v>02.10.21</c:v>
                </c:pt>
                <c:pt idx="44">
                  <c:v>03.10.21</c:v>
                </c:pt>
                <c:pt idx="45">
                  <c:v>04.10.21</c:v>
                </c:pt>
                <c:pt idx="46">
                  <c:v>05.10.21</c:v>
                </c:pt>
                <c:pt idx="47">
                  <c:v>06.10.21</c:v>
                </c:pt>
                <c:pt idx="48">
                  <c:v>07.10.21</c:v>
                </c:pt>
                <c:pt idx="49">
                  <c:v>08.10.21</c:v>
                </c:pt>
                <c:pt idx="50">
                  <c:v>09.10.21</c:v>
                </c:pt>
                <c:pt idx="51">
                  <c:v>10.10.21</c:v>
                </c:pt>
                <c:pt idx="52">
                  <c:v>11.10.21</c:v>
                </c:pt>
                <c:pt idx="53">
                  <c:v>12.10.21</c:v>
                </c:pt>
                <c:pt idx="54">
                  <c:v>13.10.21</c:v>
                </c:pt>
                <c:pt idx="55">
                  <c:v>14.10.21</c:v>
                </c:pt>
                <c:pt idx="56">
                  <c:v>15.10.21</c:v>
                </c:pt>
                <c:pt idx="57">
                  <c:v>16.10.21</c:v>
                </c:pt>
                <c:pt idx="58">
                  <c:v>17.10.21</c:v>
                </c:pt>
                <c:pt idx="59">
                  <c:v>18.10.21</c:v>
                </c:pt>
                <c:pt idx="60">
                  <c:v>19.10.21</c:v>
                </c:pt>
                <c:pt idx="61">
                  <c:v>20.10.21</c:v>
                </c:pt>
                <c:pt idx="62">
                  <c:v>21.10.21</c:v>
                </c:pt>
                <c:pt idx="63">
                  <c:v>22.10.21</c:v>
                </c:pt>
                <c:pt idx="64">
                  <c:v>23.10.21</c:v>
                </c:pt>
                <c:pt idx="65">
                  <c:v>24.10.21</c:v>
                </c:pt>
                <c:pt idx="66">
                  <c:v>25.10.21</c:v>
                </c:pt>
                <c:pt idx="67">
                  <c:v>26.10.21</c:v>
                </c:pt>
                <c:pt idx="68">
                  <c:v>27.10.21</c:v>
                </c:pt>
                <c:pt idx="69">
                  <c:v>28.10.21</c:v>
                </c:pt>
                <c:pt idx="70">
                  <c:v>29.10.21</c:v>
                </c:pt>
                <c:pt idx="71">
                  <c:v>30.10.21</c:v>
                </c:pt>
                <c:pt idx="72">
                  <c:v>31.10.21</c:v>
                </c:pt>
                <c:pt idx="73">
                  <c:v>01.11.21</c:v>
                </c:pt>
                <c:pt idx="74">
                  <c:v>02.11.21</c:v>
                </c:pt>
                <c:pt idx="75">
                  <c:v>03.11.21</c:v>
                </c:pt>
                <c:pt idx="76">
                  <c:v>04.11.21</c:v>
                </c:pt>
                <c:pt idx="77">
                  <c:v>05.11.21</c:v>
                </c:pt>
                <c:pt idx="78">
                  <c:v>06.11.21</c:v>
                </c:pt>
                <c:pt idx="79">
                  <c:v>07.11.21</c:v>
                </c:pt>
                <c:pt idx="80">
                  <c:v>08.11.21</c:v>
                </c:pt>
                <c:pt idx="81">
                  <c:v>09.11.21</c:v>
                </c:pt>
                <c:pt idx="82">
                  <c:v>10.11.21</c:v>
                </c:pt>
                <c:pt idx="83">
                  <c:v>11.11.21</c:v>
                </c:pt>
                <c:pt idx="84">
                  <c:v>12.11.21</c:v>
                </c:pt>
                <c:pt idx="85">
                  <c:v>13.11.21</c:v>
                </c:pt>
                <c:pt idx="86">
                  <c:v>14.11.21</c:v>
                </c:pt>
                <c:pt idx="87">
                  <c:v>15.11.21</c:v>
                </c:pt>
                <c:pt idx="88">
                  <c:v>16.11.21</c:v>
                </c:pt>
                <c:pt idx="89">
                  <c:v>17.11.21</c:v>
                </c:pt>
                <c:pt idx="90">
                  <c:v>18.11.21</c:v>
                </c:pt>
                <c:pt idx="91">
                  <c:v>19.11.21</c:v>
                </c:pt>
                <c:pt idx="92">
                  <c:v>20.11.21</c:v>
                </c:pt>
                <c:pt idx="93">
                  <c:v>21.11.21</c:v>
                </c:pt>
                <c:pt idx="94">
                  <c:v>22.11.21</c:v>
                </c:pt>
                <c:pt idx="95">
                  <c:v>23.11.21</c:v>
                </c:pt>
                <c:pt idx="96">
                  <c:v>24.11.21</c:v>
                </c:pt>
                <c:pt idx="97">
                  <c:v>25.11.21</c:v>
                </c:pt>
                <c:pt idx="98">
                  <c:v>26.11.21</c:v>
                </c:pt>
                <c:pt idx="99">
                  <c:v>27.11.21</c:v>
                </c:pt>
                <c:pt idx="100">
                  <c:v>28.11.21</c:v>
                </c:pt>
                <c:pt idx="101">
                  <c:v>29.11.21</c:v>
                </c:pt>
                <c:pt idx="102">
                  <c:v>30.11.21</c:v>
                </c:pt>
                <c:pt idx="103">
                  <c:v>01.12.21</c:v>
                </c:pt>
                <c:pt idx="104">
                  <c:v>02.12.21</c:v>
                </c:pt>
                <c:pt idx="105">
                  <c:v>03.12.21</c:v>
                </c:pt>
                <c:pt idx="106">
                  <c:v>04.12.21</c:v>
                </c:pt>
                <c:pt idx="107">
                  <c:v>05.12.21</c:v>
                </c:pt>
                <c:pt idx="108">
                  <c:v>06.12.21</c:v>
                </c:pt>
                <c:pt idx="109">
                  <c:v>07.12.21</c:v>
                </c:pt>
                <c:pt idx="110">
                  <c:v>08.12.21</c:v>
                </c:pt>
                <c:pt idx="111">
                  <c:v>09.12.21</c:v>
                </c:pt>
                <c:pt idx="112">
                  <c:v>10.12.21</c:v>
                </c:pt>
                <c:pt idx="113">
                  <c:v>11.12.21</c:v>
                </c:pt>
                <c:pt idx="114">
                  <c:v>12.12.21</c:v>
                </c:pt>
                <c:pt idx="115">
                  <c:v>13.12.21</c:v>
                </c:pt>
                <c:pt idx="116">
                  <c:v>14.12.21</c:v>
                </c:pt>
                <c:pt idx="117">
                  <c:v>15.12.21</c:v>
                </c:pt>
                <c:pt idx="118">
                  <c:v>16.12.21</c:v>
                </c:pt>
                <c:pt idx="119">
                  <c:v>17.12.21</c:v>
                </c:pt>
                <c:pt idx="120">
                  <c:v>18.12.21</c:v>
                </c:pt>
                <c:pt idx="121">
                  <c:v>19.12.21</c:v>
                </c:pt>
                <c:pt idx="122">
                  <c:v>20.12.21</c:v>
                </c:pt>
                <c:pt idx="123">
                  <c:v>21.12.21</c:v>
                </c:pt>
                <c:pt idx="124">
                  <c:v>22.12.21</c:v>
                </c:pt>
                <c:pt idx="125">
                  <c:v>23.12.21</c:v>
                </c:pt>
                <c:pt idx="126">
                  <c:v>24.12.21</c:v>
                </c:pt>
                <c:pt idx="127">
                  <c:v>25.12.21</c:v>
                </c:pt>
                <c:pt idx="128">
                  <c:v>26.12.21</c:v>
                </c:pt>
                <c:pt idx="129">
                  <c:v>27.12.21</c:v>
                </c:pt>
                <c:pt idx="130">
                  <c:v>28.12.21</c:v>
                </c:pt>
                <c:pt idx="131">
                  <c:v>29.12.21</c:v>
                </c:pt>
                <c:pt idx="132">
                  <c:v>30.12.21</c:v>
                </c:pt>
                <c:pt idx="133">
                  <c:v>31.12.21</c:v>
                </c:pt>
                <c:pt idx="134">
                  <c:v>01.01.22</c:v>
                </c:pt>
                <c:pt idx="135">
                  <c:v>02.01.22</c:v>
                </c:pt>
                <c:pt idx="136">
                  <c:v>03.01.22</c:v>
                </c:pt>
                <c:pt idx="137">
                  <c:v>04.01.22</c:v>
                </c:pt>
                <c:pt idx="138">
                  <c:v>05.01.22</c:v>
                </c:pt>
                <c:pt idx="139">
                  <c:v>06.01.22</c:v>
                </c:pt>
                <c:pt idx="140">
                  <c:v>07.01.22</c:v>
                </c:pt>
                <c:pt idx="141">
                  <c:v>08.01.22</c:v>
                </c:pt>
                <c:pt idx="142">
                  <c:v>09.01.22</c:v>
                </c:pt>
                <c:pt idx="143">
                  <c:v>10.01.22</c:v>
                </c:pt>
                <c:pt idx="144">
                  <c:v>11.01.22</c:v>
                </c:pt>
                <c:pt idx="145">
                  <c:v>12.01.22</c:v>
                </c:pt>
                <c:pt idx="146">
                  <c:v>13.01.22</c:v>
                </c:pt>
                <c:pt idx="147">
                  <c:v>14.01.22</c:v>
                </c:pt>
                <c:pt idx="148">
                  <c:v>15.01.22</c:v>
                </c:pt>
                <c:pt idx="149">
                  <c:v>16.01.22</c:v>
                </c:pt>
                <c:pt idx="150">
                  <c:v>17.01.22</c:v>
                </c:pt>
                <c:pt idx="151">
                  <c:v>18.01.22</c:v>
                </c:pt>
                <c:pt idx="152">
                  <c:v>19.01.22</c:v>
                </c:pt>
                <c:pt idx="153">
                  <c:v>20.01.22</c:v>
                </c:pt>
                <c:pt idx="154">
                  <c:v>21.01.22</c:v>
                </c:pt>
                <c:pt idx="155">
                  <c:v>22.01.22</c:v>
                </c:pt>
                <c:pt idx="156">
                  <c:v>23.01.22</c:v>
                </c:pt>
                <c:pt idx="157">
                  <c:v>24.01.22</c:v>
                </c:pt>
                <c:pt idx="158">
                  <c:v>25.01.22</c:v>
                </c:pt>
                <c:pt idx="159">
                  <c:v>26.01.22</c:v>
                </c:pt>
                <c:pt idx="160">
                  <c:v>27.01.22</c:v>
                </c:pt>
                <c:pt idx="161">
                  <c:v>28.01.22</c:v>
                </c:pt>
                <c:pt idx="162">
                  <c:v>29.01.22</c:v>
                </c:pt>
                <c:pt idx="163">
                  <c:v>30.01.22</c:v>
                </c:pt>
                <c:pt idx="164">
                  <c:v>31.01.22</c:v>
                </c:pt>
                <c:pt idx="165">
                  <c:v>01.02.22</c:v>
                </c:pt>
                <c:pt idx="166">
                  <c:v>02.02.22</c:v>
                </c:pt>
                <c:pt idx="167">
                  <c:v>03.02.22</c:v>
                </c:pt>
                <c:pt idx="168">
                  <c:v>04.02.22</c:v>
                </c:pt>
                <c:pt idx="169">
                  <c:v>05.02.22</c:v>
                </c:pt>
                <c:pt idx="170">
                  <c:v>06.02.22</c:v>
                </c:pt>
                <c:pt idx="171">
                  <c:v>07.02.22</c:v>
                </c:pt>
                <c:pt idx="172">
                  <c:v>08.02.22</c:v>
                </c:pt>
                <c:pt idx="173">
                  <c:v>09.02.22</c:v>
                </c:pt>
                <c:pt idx="174">
                  <c:v>10.02.22</c:v>
                </c:pt>
                <c:pt idx="175">
                  <c:v>11.02.22</c:v>
                </c:pt>
                <c:pt idx="176">
                  <c:v>12.02.22</c:v>
                </c:pt>
                <c:pt idx="177">
                  <c:v>13.02.22</c:v>
                </c:pt>
                <c:pt idx="178">
                  <c:v>14.02.22</c:v>
                </c:pt>
                <c:pt idx="179">
                  <c:v>15.02.22</c:v>
                </c:pt>
                <c:pt idx="180">
                  <c:v>16.02.22</c:v>
                </c:pt>
                <c:pt idx="181">
                  <c:v>17.02.22</c:v>
                </c:pt>
                <c:pt idx="182">
                  <c:v>18.02.22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116</c:v>
                </c:pt>
                <c:pt idx="1">
                  <c:v>116</c:v>
                </c:pt>
                <c:pt idx="2">
                  <c:v>116</c:v>
                </c:pt>
                <c:pt idx="3">
                  <c:v>118</c:v>
                </c:pt>
                <c:pt idx="4">
                  <c:v>119</c:v>
                </c:pt>
                <c:pt idx="5">
                  <c:v>116</c:v>
                </c:pt>
                <c:pt idx="6">
                  <c:v>117</c:v>
                </c:pt>
                <c:pt idx="7">
                  <c:v>116</c:v>
                </c:pt>
                <c:pt idx="8">
                  <c:v>116</c:v>
                </c:pt>
                <c:pt idx="9">
                  <c:v>115</c:v>
                </c:pt>
                <c:pt idx="10">
                  <c:v>110</c:v>
                </c:pt>
                <c:pt idx="11">
                  <c:v>111</c:v>
                </c:pt>
                <c:pt idx="12">
                  <c:v>109</c:v>
                </c:pt>
                <c:pt idx="13">
                  <c:v>114</c:v>
                </c:pt>
                <c:pt idx="14">
                  <c:v>120</c:v>
                </c:pt>
                <c:pt idx="15">
                  <c:v>121</c:v>
                </c:pt>
                <c:pt idx="16">
                  <c:v>119</c:v>
                </c:pt>
                <c:pt idx="17">
                  <c:v>117</c:v>
                </c:pt>
                <c:pt idx="18">
                  <c:v>123</c:v>
                </c:pt>
                <c:pt idx="19">
                  <c:v>123</c:v>
                </c:pt>
                <c:pt idx="20">
                  <c:v>125</c:v>
                </c:pt>
                <c:pt idx="21">
                  <c:v>125</c:v>
                </c:pt>
                <c:pt idx="22">
                  <c:v>124</c:v>
                </c:pt>
                <c:pt idx="23">
                  <c:v>125</c:v>
                </c:pt>
                <c:pt idx="24">
                  <c:v>126</c:v>
                </c:pt>
                <c:pt idx="25">
                  <c:v>129</c:v>
                </c:pt>
                <c:pt idx="26">
                  <c:v>131</c:v>
                </c:pt>
                <c:pt idx="27">
                  <c:v>133</c:v>
                </c:pt>
                <c:pt idx="28">
                  <c:v>131</c:v>
                </c:pt>
                <c:pt idx="29">
                  <c:v>133</c:v>
                </c:pt>
                <c:pt idx="30">
                  <c:v>134</c:v>
                </c:pt>
                <c:pt idx="31">
                  <c:v>139</c:v>
                </c:pt>
                <c:pt idx="32">
                  <c:v>141</c:v>
                </c:pt>
                <c:pt idx="33">
                  <c:v>145</c:v>
                </c:pt>
                <c:pt idx="34">
                  <c:v>148</c:v>
                </c:pt>
                <c:pt idx="35">
                  <c:v>155</c:v>
                </c:pt>
                <c:pt idx="36">
                  <c:v>161</c:v>
                </c:pt>
                <c:pt idx="37">
                  <c:v>163</c:v>
                </c:pt>
                <c:pt idx="38">
                  <c:v>164</c:v>
                </c:pt>
                <c:pt idx="39">
                  <c:v>169</c:v>
                </c:pt>
                <c:pt idx="40">
                  <c:v>175</c:v>
                </c:pt>
                <c:pt idx="41">
                  <c:v>184</c:v>
                </c:pt>
                <c:pt idx="42">
                  <c:v>186</c:v>
                </c:pt>
                <c:pt idx="43">
                  <c:v>187</c:v>
                </c:pt>
                <c:pt idx="44">
                  <c:v>194</c:v>
                </c:pt>
                <c:pt idx="45">
                  <c:v>193</c:v>
                </c:pt>
                <c:pt idx="46">
                  <c:v>202</c:v>
                </c:pt>
                <c:pt idx="47">
                  <c:v>206</c:v>
                </c:pt>
                <c:pt idx="48">
                  <c:v>208</c:v>
                </c:pt>
                <c:pt idx="49">
                  <c:v>209</c:v>
                </c:pt>
                <c:pt idx="50">
                  <c:v>209</c:v>
                </c:pt>
                <c:pt idx="51">
                  <c:v>207</c:v>
                </c:pt>
                <c:pt idx="52">
                  <c:v>218</c:v>
                </c:pt>
                <c:pt idx="53">
                  <c:v>230</c:v>
                </c:pt>
                <c:pt idx="54">
                  <c:v>231</c:v>
                </c:pt>
                <c:pt idx="55">
                  <c:v>241</c:v>
                </c:pt>
                <c:pt idx="56">
                  <c:v>251</c:v>
                </c:pt>
                <c:pt idx="57">
                  <c:v>256</c:v>
                </c:pt>
                <c:pt idx="58">
                  <c:v>259</c:v>
                </c:pt>
                <c:pt idx="59">
                  <c:v>281</c:v>
                </c:pt>
                <c:pt idx="60">
                  <c:v>291</c:v>
                </c:pt>
                <c:pt idx="61">
                  <c:v>309</c:v>
                </c:pt>
                <c:pt idx="62">
                  <c:v>348</c:v>
                </c:pt>
                <c:pt idx="63">
                  <c:v>375</c:v>
                </c:pt>
                <c:pt idx="64">
                  <c:v>404</c:v>
                </c:pt>
                <c:pt idx="65">
                  <c:v>407</c:v>
                </c:pt>
                <c:pt idx="66">
                  <c:v>450</c:v>
                </c:pt>
                <c:pt idx="67">
                  <c:v>496</c:v>
                </c:pt>
                <c:pt idx="68">
                  <c:v>545</c:v>
                </c:pt>
                <c:pt idx="69">
                  <c:v>558</c:v>
                </c:pt>
                <c:pt idx="70">
                  <c:v>618</c:v>
                </c:pt>
                <c:pt idx="71">
                  <c:v>664</c:v>
                </c:pt>
                <c:pt idx="72">
                  <c:v>691</c:v>
                </c:pt>
                <c:pt idx="73">
                  <c:v>752</c:v>
                </c:pt>
                <c:pt idx="74">
                  <c:v>833</c:v>
                </c:pt>
                <c:pt idx="75">
                  <c:v>905</c:v>
                </c:pt>
                <c:pt idx="76">
                  <c:v>949</c:v>
                </c:pt>
                <c:pt idx="77">
                  <c:v>1021</c:v>
                </c:pt>
                <c:pt idx="78">
                  <c:v>1078</c:v>
                </c:pt>
                <c:pt idx="79">
                  <c:v>1079</c:v>
                </c:pt>
                <c:pt idx="80">
                  <c:v>1120</c:v>
                </c:pt>
                <c:pt idx="81">
                  <c:v>1198</c:v>
                </c:pt>
                <c:pt idx="82">
                  <c:v>1300</c:v>
                </c:pt>
                <c:pt idx="83">
                  <c:v>1357</c:v>
                </c:pt>
                <c:pt idx="84">
                  <c:v>1426</c:v>
                </c:pt>
                <c:pt idx="85">
                  <c:v>1464</c:v>
                </c:pt>
                <c:pt idx="86">
                  <c:v>1472</c:v>
                </c:pt>
                <c:pt idx="87">
                  <c:v>1504</c:v>
                </c:pt>
                <c:pt idx="88">
                  <c:v>1616</c:v>
                </c:pt>
                <c:pt idx="89">
                  <c:v>1619</c:v>
                </c:pt>
                <c:pt idx="90">
                  <c:v>1676</c:v>
                </c:pt>
                <c:pt idx="91">
                  <c:v>1772</c:v>
                </c:pt>
                <c:pt idx="92">
                  <c:v>1869</c:v>
                </c:pt>
                <c:pt idx="93">
                  <c:v>1914</c:v>
                </c:pt>
                <c:pt idx="94">
                  <c:v>1925</c:v>
                </c:pt>
                <c:pt idx="95">
                  <c:v>2029</c:v>
                </c:pt>
                <c:pt idx="96">
                  <c:v>2014</c:v>
                </c:pt>
                <c:pt idx="97">
                  <c:v>2098</c:v>
                </c:pt>
                <c:pt idx="98">
                  <c:v>2128</c:v>
                </c:pt>
                <c:pt idx="99">
                  <c:v>2165</c:v>
                </c:pt>
                <c:pt idx="100">
                  <c:v>2190</c:v>
                </c:pt>
                <c:pt idx="101">
                  <c:v>2151</c:v>
                </c:pt>
                <c:pt idx="102">
                  <c:v>2126</c:v>
                </c:pt>
                <c:pt idx="103">
                  <c:v>2211</c:v>
                </c:pt>
                <c:pt idx="104">
                  <c:v>2135</c:v>
                </c:pt>
                <c:pt idx="105">
                  <c:v>2036</c:v>
                </c:pt>
                <c:pt idx="106">
                  <c:v>2039</c:v>
                </c:pt>
                <c:pt idx="107">
                  <c:v>2024</c:v>
                </c:pt>
                <c:pt idx="108">
                  <c:v>1887</c:v>
                </c:pt>
                <c:pt idx="109">
                  <c:v>1839</c:v>
                </c:pt>
                <c:pt idx="110">
                  <c:v>1786</c:v>
                </c:pt>
                <c:pt idx="111">
                  <c:v>1756</c:v>
                </c:pt>
                <c:pt idx="112">
                  <c:v>1694</c:v>
                </c:pt>
                <c:pt idx="113">
                  <c:v>1692</c:v>
                </c:pt>
                <c:pt idx="114">
                  <c:v>1679</c:v>
                </c:pt>
                <c:pt idx="115">
                  <c:v>1533</c:v>
                </c:pt>
                <c:pt idx="116">
                  <c:v>1504</c:v>
                </c:pt>
                <c:pt idx="117">
                  <c:v>1442</c:v>
                </c:pt>
                <c:pt idx="118">
                  <c:v>1376</c:v>
                </c:pt>
                <c:pt idx="119">
                  <c:v>1318</c:v>
                </c:pt>
                <c:pt idx="120">
                  <c:v>1304</c:v>
                </c:pt>
                <c:pt idx="121">
                  <c:v>1271</c:v>
                </c:pt>
                <c:pt idx="122">
                  <c:v>1165</c:v>
                </c:pt>
                <c:pt idx="123">
                  <c:v>1112</c:v>
                </c:pt>
                <c:pt idx="124">
                  <c:v>1063</c:v>
                </c:pt>
                <c:pt idx="125">
                  <c:v>1023</c:v>
                </c:pt>
                <c:pt idx="126">
                  <c:v>930</c:v>
                </c:pt>
                <c:pt idx="127">
                  <c:v>897</c:v>
                </c:pt>
                <c:pt idx="128">
                  <c:v>859</c:v>
                </c:pt>
                <c:pt idx="129">
                  <c:v>797</c:v>
                </c:pt>
                <c:pt idx="130">
                  <c:v>798</c:v>
                </c:pt>
                <c:pt idx="131">
                  <c:v>780</c:v>
                </c:pt>
                <c:pt idx="132">
                  <c:v>754</c:v>
                </c:pt>
                <c:pt idx="133">
                  <c:v>733</c:v>
                </c:pt>
                <c:pt idx="134">
                  <c:v>712</c:v>
                </c:pt>
                <c:pt idx="135">
                  <c:v>707</c:v>
                </c:pt>
                <c:pt idx="136">
                  <c:v>687</c:v>
                </c:pt>
                <c:pt idx="137">
                  <c:v>701</c:v>
                </c:pt>
                <c:pt idx="138">
                  <c:v>689</c:v>
                </c:pt>
                <c:pt idx="139">
                  <c:v>697</c:v>
                </c:pt>
                <c:pt idx="140">
                  <c:v>740</c:v>
                </c:pt>
                <c:pt idx="141">
                  <c:v>755</c:v>
                </c:pt>
                <c:pt idx="142">
                  <c:v>749</c:v>
                </c:pt>
                <c:pt idx="143">
                  <c:v>711</c:v>
                </c:pt>
                <c:pt idx="144">
                  <c:v>736</c:v>
                </c:pt>
                <c:pt idx="145">
                  <c:v>767</c:v>
                </c:pt>
                <c:pt idx="146">
                  <c:v>801</c:v>
                </c:pt>
                <c:pt idx="147">
                  <c:v>845</c:v>
                </c:pt>
                <c:pt idx="148">
                  <c:v>903</c:v>
                </c:pt>
                <c:pt idx="149">
                  <c:v>901</c:v>
                </c:pt>
                <c:pt idx="150">
                  <c:v>988</c:v>
                </c:pt>
                <c:pt idx="151">
                  <c:v>1131</c:v>
                </c:pt>
                <c:pt idx="152">
                  <c:v>1277</c:v>
                </c:pt>
                <c:pt idx="153">
                  <c:v>1417</c:v>
                </c:pt>
                <c:pt idx="154">
                  <c:v>1532</c:v>
                </c:pt>
                <c:pt idx="155">
                  <c:v>1558</c:v>
                </c:pt>
                <c:pt idx="156">
                  <c:v>1579</c:v>
                </c:pt>
                <c:pt idx="157">
                  <c:v>1738</c:v>
                </c:pt>
                <c:pt idx="158">
                  <c:v>2005</c:v>
                </c:pt>
                <c:pt idx="159">
                  <c:v>2346</c:v>
                </c:pt>
                <c:pt idx="160">
                  <c:v>2461</c:v>
                </c:pt>
                <c:pt idx="161">
                  <c:v>2693</c:v>
                </c:pt>
                <c:pt idx="162">
                  <c:v>2651</c:v>
                </c:pt>
                <c:pt idx="163">
                  <c:v>2661</c:v>
                </c:pt>
                <c:pt idx="164">
                  <c:v>2881</c:v>
                </c:pt>
                <c:pt idx="165">
                  <c:v>3247</c:v>
                </c:pt>
                <c:pt idx="166">
                  <c:v>3507</c:v>
                </c:pt>
                <c:pt idx="167">
                  <c:v>3445</c:v>
                </c:pt>
                <c:pt idx="168">
                  <c:v>3364</c:v>
                </c:pt>
                <c:pt idx="169">
                  <c:v>3201</c:v>
                </c:pt>
                <c:pt idx="170">
                  <c:v>2980</c:v>
                </c:pt>
                <c:pt idx="171">
                  <c:v>3036</c:v>
                </c:pt>
                <c:pt idx="172">
                  <c:v>3250</c:v>
                </c:pt>
                <c:pt idx="173">
                  <c:v>3350</c:v>
                </c:pt>
                <c:pt idx="174">
                  <c:v>3044</c:v>
                </c:pt>
                <c:pt idx="175">
                  <c:v>2852</c:v>
                </c:pt>
                <c:pt idx="176">
                  <c:v>2635</c:v>
                </c:pt>
                <c:pt idx="177">
                  <c:v>2392</c:v>
                </c:pt>
                <c:pt idx="178">
                  <c:v>2378</c:v>
                </c:pt>
                <c:pt idx="179">
                  <c:v>2528</c:v>
                </c:pt>
                <c:pt idx="180">
                  <c:v>2612</c:v>
                </c:pt>
                <c:pt idx="181">
                  <c:v>2286</c:v>
                </c:pt>
                <c:pt idx="182">
                  <c:v>2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9.1782611028705868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0.08.21</c:v>
                </c:pt>
                <c:pt idx="1">
                  <c:v>21.08.21</c:v>
                </c:pt>
                <c:pt idx="2">
                  <c:v>22.08.21</c:v>
                </c:pt>
                <c:pt idx="3">
                  <c:v>23.08.21</c:v>
                </c:pt>
                <c:pt idx="4">
                  <c:v>24.08.21</c:v>
                </c:pt>
                <c:pt idx="5">
                  <c:v>25.08.21</c:v>
                </c:pt>
                <c:pt idx="6">
                  <c:v>26.08.21</c:v>
                </c:pt>
                <c:pt idx="7">
                  <c:v>27.08.21</c:v>
                </c:pt>
                <c:pt idx="8">
                  <c:v>28.08.21</c:v>
                </c:pt>
                <c:pt idx="9">
                  <c:v>29.08.21</c:v>
                </c:pt>
                <c:pt idx="10">
                  <c:v>30.08.21</c:v>
                </c:pt>
                <c:pt idx="11">
                  <c:v>31.08.21</c:v>
                </c:pt>
                <c:pt idx="12">
                  <c:v>01.09.21</c:v>
                </c:pt>
                <c:pt idx="13">
                  <c:v>02.09.21</c:v>
                </c:pt>
                <c:pt idx="14">
                  <c:v>03.09.21</c:v>
                </c:pt>
                <c:pt idx="15">
                  <c:v>04.09.21</c:v>
                </c:pt>
                <c:pt idx="16">
                  <c:v>05.09.21</c:v>
                </c:pt>
                <c:pt idx="17">
                  <c:v>06.09.21</c:v>
                </c:pt>
                <c:pt idx="18">
                  <c:v>07.09.21</c:v>
                </c:pt>
                <c:pt idx="19">
                  <c:v>08.09.21</c:v>
                </c:pt>
                <c:pt idx="20">
                  <c:v>09.09.21</c:v>
                </c:pt>
                <c:pt idx="21">
                  <c:v>10.09.21</c:v>
                </c:pt>
                <c:pt idx="22">
                  <c:v>11.09.21</c:v>
                </c:pt>
                <c:pt idx="23">
                  <c:v>12.09.21</c:v>
                </c:pt>
                <c:pt idx="24">
                  <c:v>13.09.21</c:v>
                </c:pt>
                <c:pt idx="25">
                  <c:v>14.09.21</c:v>
                </c:pt>
                <c:pt idx="26">
                  <c:v>15.09.21</c:v>
                </c:pt>
                <c:pt idx="27">
                  <c:v>16.09.21</c:v>
                </c:pt>
                <c:pt idx="28">
                  <c:v>17.09.21</c:v>
                </c:pt>
                <c:pt idx="29">
                  <c:v>18.09.21</c:v>
                </c:pt>
                <c:pt idx="30">
                  <c:v>19.09.21</c:v>
                </c:pt>
                <c:pt idx="31">
                  <c:v>20.09.21</c:v>
                </c:pt>
                <c:pt idx="32">
                  <c:v>21.09.21</c:v>
                </c:pt>
                <c:pt idx="33">
                  <c:v>22.09.21</c:v>
                </c:pt>
                <c:pt idx="34">
                  <c:v>23.09.21</c:v>
                </c:pt>
                <c:pt idx="35">
                  <c:v>24.09.21</c:v>
                </c:pt>
                <c:pt idx="36">
                  <c:v>25.09.21</c:v>
                </c:pt>
                <c:pt idx="37">
                  <c:v>26.09.21</c:v>
                </c:pt>
                <c:pt idx="38">
                  <c:v>27.09.21</c:v>
                </c:pt>
                <c:pt idx="39">
                  <c:v>28.09.21</c:v>
                </c:pt>
                <c:pt idx="40">
                  <c:v>29.09.21</c:v>
                </c:pt>
                <c:pt idx="41">
                  <c:v>30.09.21</c:v>
                </c:pt>
                <c:pt idx="42">
                  <c:v>01.10.21</c:v>
                </c:pt>
                <c:pt idx="43">
                  <c:v>02.10.21</c:v>
                </c:pt>
                <c:pt idx="44">
                  <c:v>03.10.21</c:v>
                </c:pt>
                <c:pt idx="45">
                  <c:v>04.10.21</c:v>
                </c:pt>
                <c:pt idx="46">
                  <c:v>05.10.21</c:v>
                </c:pt>
                <c:pt idx="47">
                  <c:v>06.10.21</c:v>
                </c:pt>
                <c:pt idx="48">
                  <c:v>07.10.21</c:v>
                </c:pt>
                <c:pt idx="49">
                  <c:v>08.10.21</c:v>
                </c:pt>
                <c:pt idx="50">
                  <c:v>09.10.21</c:v>
                </c:pt>
                <c:pt idx="51">
                  <c:v>10.10.21</c:v>
                </c:pt>
                <c:pt idx="52">
                  <c:v>11.10.21</c:v>
                </c:pt>
                <c:pt idx="53">
                  <c:v>12.10.21</c:v>
                </c:pt>
                <c:pt idx="54">
                  <c:v>13.10.21</c:v>
                </c:pt>
                <c:pt idx="55">
                  <c:v>14.10.21</c:v>
                </c:pt>
                <c:pt idx="56">
                  <c:v>15.10.21</c:v>
                </c:pt>
                <c:pt idx="57">
                  <c:v>16.10.21</c:v>
                </c:pt>
                <c:pt idx="58">
                  <c:v>17.10.21</c:v>
                </c:pt>
                <c:pt idx="59">
                  <c:v>18.10.21</c:v>
                </c:pt>
                <c:pt idx="60">
                  <c:v>19.10.21</c:v>
                </c:pt>
                <c:pt idx="61">
                  <c:v>20.10.21</c:v>
                </c:pt>
                <c:pt idx="62">
                  <c:v>21.10.21</c:v>
                </c:pt>
                <c:pt idx="63">
                  <c:v>22.10.21</c:v>
                </c:pt>
                <c:pt idx="64">
                  <c:v>23.10.21</c:v>
                </c:pt>
                <c:pt idx="65">
                  <c:v>24.10.21</c:v>
                </c:pt>
                <c:pt idx="66">
                  <c:v>25.10.21</c:v>
                </c:pt>
                <c:pt idx="67">
                  <c:v>26.10.21</c:v>
                </c:pt>
                <c:pt idx="68">
                  <c:v>27.10.21</c:v>
                </c:pt>
                <c:pt idx="69">
                  <c:v>28.10.21</c:v>
                </c:pt>
                <c:pt idx="70">
                  <c:v>29.10.21</c:v>
                </c:pt>
                <c:pt idx="71">
                  <c:v>30.10.21</c:v>
                </c:pt>
                <c:pt idx="72">
                  <c:v>31.10.21</c:v>
                </c:pt>
                <c:pt idx="73">
                  <c:v>01.11.21</c:v>
                </c:pt>
                <c:pt idx="74">
                  <c:v>02.11.21</c:v>
                </c:pt>
                <c:pt idx="75">
                  <c:v>03.11.21</c:v>
                </c:pt>
                <c:pt idx="76">
                  <c:v>04.11.21</c:v>
                </c:pt>
                <c:pt idx="77">
                  <c:v>05.11.21</c:v>
                </c:pt>
                <c:pt idx="78">
                  <c:v>06.11.21</c:v>
                </c:pt>
                <c:pt idx="79">
                  <c:v>07.11.21</c:v>
                </c:pt>
                <c:pt idx="80">
                  <c:v>08.11.21</c:v>
                </c:pt>
                <c:pt idx="81">
                  <c:v>09.11.21</c:v>
                </c:pt>
                <c:pt idx="82">
                  <c:v>10.11.21</c:v>
                </c:pt>
                <c:pt idx="83">
                  <c:v>11.11.21</c:v>
                </c:pt>
                <c:pt idx="84">
                  <c:v>12.11.21</c:v>
                </c:pt>
                <c:pt idx="85">
                  <c:v>13.11.21</c:v>
                </c:pt>
                <c:pt idx="86">
                  <c:v>14.11.21</c:v>
                </c:pt>
                <c:pt idx="87">
                  <c:v>15.11.21</c:v>
                </c:pt>
                <c:pt idx="88">
                  <c:v>16.11.21</c:v>
                </c:pt>
                <c:pt idx="89">
                  <c:v>17.11.21</c:v>
                </c:pt>
                <c:pt idx="90">
                  <c:v>18.11.21</c:v>
                </c:pt>
                <c:pt idx="91">
                  <c:v>19.11.21</c:v>
                </c:pt>
                <c:pt idx="92">
                  <c:v>20.11.21</c:v>
                </c:pt>
                <c:pt idx="93">
                  <c:v>21.11.21</c:v>
                </c:pt>
                <c:pt idx="94">
                  <c:v>22.11.21</c:v>
                </c:pt>
                <c:pt idx="95">
                  <c:v>23.11.21</c:v>
                </c:pt>
                <c:pt idx="96">
                  <c:v>24.11.21</c:v>
                </c:pt>
                <c:pt idx="97">
                  <c:v>25.11.21</c:v>
                </c:pt>
                <c:pt idx="98">
                  <c:v>26.11.21</c:v>
                </c:pt>
                <c:pt idx="99">
                  <c:v>27.11.21</c:v>
                </c:pt>
                <c:pt idx="100">
                  <c:v>28.11.21</c:v>
                </c:pt>
                <c:pt idx="101">
                  <c:v>29.11.21</c:v>
                </c:pt>
                <c:pt idx="102">
                  <c:v>30.11.21</c:v>
                </c:pt>
                <c:pt idx="103">
                  <c:v>01.12.21</c:v>
                </c:pt>
                <c:pt idx="104">
                  <c:v>02.12.21</c:v>
                </c:pt>
                <c:pt idx="105">
                  <c:v>03.12.21</c:v>
                </c:pt>
                <c:pt idx="106">
                  <c:v>04.12.21</c:v>
                </c:pt>
                <c:pt idx="107">
                  <c:v>05.12.21</c:v>
                </c:pt>
                <c:pt idx="108">
                  <c:v>06.12.21</c:v>
                </c:pt>
                <c:pt idx="109">
                  <c:v>07.12.21</c:v>
                </c:pt>
                <c:pt idx="110">
                  <c:v>08.12.21</c:v>
                </c:pt>
                <c:pt idx="111">
                  <c:v>09.12.21</c:v>
                </c:pt>
                <c:pt idx="112">
                  <c:v>10.12.21</c:v>
                </c:pt>
                <c:pt idx="113">
                  <c:v>11.12.21</c:v>
                </c:pt>
                <c:pt idx="114">
                  <c:v>12.12.21</c:v>
                </c:pt>
                <c:pt idx="115">
                  <c:v>13.12.21</c:v>
                </c:pt>
                <c:pt idx="116">
                  <c:v>14.12.21</c:v>
                </c:pt>
                <c:pt idx="117">
                  <c:v>15.12.21</c:v>
                </c:pt>
                <c:pt idx="118">
                  <c:v>16.12.21</c:v>
                </c:pt>
                <c:pt idx="119">
                  <c:v>17.12.21</c:v>
                </c:pt>
                <c:pt idx="120">
                  <c:v>18.12.21</c:v>
                </c:pt>
                <c:pt idx="121">
                  <c:v>19.12.21</c:v>
                </c:pt>
                <c:pt idx="122">
                  <c:v>20.12.21</c:v>
                </c:pt>
                <c:pt idx="123">
                  <c:v>21.12.21</c:v>
                </c:pt>
                <c:pt idx="124">
                  <c:v>22.12.21</c:v>
                </c:pt>
                <c:pt idx="125">
                  <c:v>23.12.21</c:v>
                </c:pt>
                <c:pt idx="126">
                  <c:v>24.12.21</c:v>
                </c:pt>
                <c:pt idx="127">
                  <c:v>25.12.21</c:v>
                </c:pt>
                <c:pt idx="128">
                  <c:v>26.12.21</c:v>
                </c:pt>
                <c:pt idx="129">
                  <c:v>27.12.21</c:v>
                </c:pt>
                <c:pt idx="130">
                  <c:v>28.12.21</c:v>
                </c:pt>
                <c:pt idx="131">
                  <c:v>29.12.21</c:v>
                </c:pt>
                <c:pt idx="132">
                  <c:v>30.12.21</c:v>
                </c:pt>
                <c:pt idx="133">
                  <c:v>31.12.21</c:v>
                </c:pt>
                <c:pt idx="134">
                  <c:v>01.01.22</c:v>
                </c:pt>
                <c:pt idx="135">
                  <c:v>02.01.22</c:v>
                </c:pt>
                <c:pt idx="136">
                  <c:v>03.01.22</c:v>
                </c:pt>
                <c:pt idx="137">
                  <c:v>04.01.22</c:v>
                </c:pt>
                <c:pt idx="138">
                  <c:v>05.01.22</c:v>
                </c:pt>
                <c:pt idx="139">
                  <c:v>06.01.22</c:v>
                </c:pt>
                <c:pt idx="140">
                  <c:v>07.01.22</c:v>
                </c:pt>
                <c:pt idx="141">
                  <c:v>08.01.22</c:v>
                </c:pt>
                <c:pt idx="142">
                  <c:v>09.01.22</c:v>
                </c:pt>
                <c:pt idx="143">
                  <c:v>10.01.22</c:v>
                </c:pt>
                <c:pt idx="144">
                  <c:v>11.01.22</c:v>
                </c:pt>
                <c:pt idx="145">
                  <c:v>12.01.22</c:v>
                </c:pt>
                <c:pt idx="146">
                  <c:v>13.01.22</c:v>
                </c:pt>
                <c:pt idx="147">
                  <c:v>14.01.22</c:v>
                </c:pt>
                <c:pt idx="148">
                  <c:v>15.01.22</c:v>
                </c:pt>
                <c:pt idx="149">
                  <c:v>16.01.22</c:v>
                </c:pt>
                <c:pt idx="150">
                  <c:v>17.01.22</c:v>
                </c:pt>
                <c:pt idx="151">
                  <c:v>18.01.22</c:v>
                </c:pt>
                <c:pt idx="152">
                  <c:v>19.01.22</c:v>
                </c:pt>
                <c:pt idx="153">
                  <c:v>20.01.22</c:v>
                </c:pt>
                <c:pt idx="154">
                  <c:v>21.01.22</c:v>
                </c:pt>
                <c:pt idx="155">
                  <c:v>22.01.22</c:v>
                </c:pt>
                <c:pt idx="156">
                  <c:v>23.01.22</c:v>
                </c:pt>
                <c:pt idx="157">
                  <c:v>24.01.22</c:v>
                </c:pt>
                <c:pt idx="158">
                  <c:v>25.01.22</c:v>
                </c:pt>
                <c:pt idx="159">
                  <c:v>26.01.22</c:v>
                </c:pt>
                <c:pt idx="160">
                  <c:v>27.01.22</c:v>
                </c:pt>
                <c:pt idx="161">
                  <c:v>28.01.22</c:v>
                </c:pt>
                <c:pt idx="162">
                  <c:v>29.01.22</c:v>
                </c:pt>
                <c:pt idx="163">
                  <c:v>30.01.22</c:v>
                </c:pt>
                <c:pt idx="164">
                  <c:v>31.01.22</c:v>
                </c:pt>
                <c:pt idx="165">
                  <c:v>01.02.22</c:v>
                </c:pt>
                <c:pt idx="166">
                  <c:v>02.02.22</c:v>
                </c:pt>
                <c:pt idx="167">
                  <c:v>03.02.22</c:v>
                </c:pt>
                <c:pt idx="168">
                  <c:v>04.02.22</c:v>
                </c:pt>
                <c:pt idx="169">
                  <c:v>05.02.22</c:v>
                </c:pt>
                <c:pt idx="170">
                  <c:v>06.02.22</c:v>
                </c:pt>
                <c:pt idx="171">
                  <c:v>07.02.22</c:v>
                </c:pt>
                <c:pt idx="172">
                  <c:v>08.02.22</c:v>
                </c:pt>
                <c:pt idx="173">
                  <c:v>09.02.22</c:v>
                </c:pt>
                <c:pt idx="174">
                  <c:v>10.02.22</c:v>
                </c:pt>
                <c:pt idx="175">
                  <c:v>11.02.22</c:v>
                </c:pt>
                <c:pt idx="176">
                  <c:v>12.02.22</c:v>
                </c:pt>
                <c:pt idx="177">
                  <c:v>13.02.22</c:v>
                </c:pt>
                <c:pt idx="178">
                  <c:v>14.02.22</c:v>
                </c:pt>
                <c:pt idx="179">
                  <c:v>15.02.22</c:v>
                </c:pt>
                <c:pt idx="180">
                  <c:v>16.02.22</c:v>
                </c:pt>
                <c:pt idx="181">
                  <c:v>17.02.22</c:v>
                </c:pt>
                <c:pt idx="182">
                  <c:v>18.02.22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118</c:v>
                </c:pt>
                <c:pt idx="1">
                  <c:v>119</c:v>
                </c:pt>
                <c:pt idx="2">
                  <c:v>120</c:v>
                </c:pt>
                <c:pt idx="3">
                  <c:v>117</c:v>
                </c:pt>
                <c:pt idx="4">
                  <c:v>118</c:v>
                </c:pt>
                <c:pt idx="5">
                  <c:v>122</c:v>
                </c:pt>
                <c:pt idx="6">
                  <c:v>120</c:v>
                </c:pt>
                <c:pt idx="7">
                  <c:v>118</c:v>
                </c:pt>
                <c:pt idx="8">
                  <c:v>116</c:v>
                </c:pt>
                <c:pt idx="9">
                  <c:v>117</c:v>
                </c:pt>
                <c:pt idx="10">
                  <c:v>115</c:v>
                </c:pt>
                <c:pt idx="11">
                  <c:v>116</c:v>
                </c:pt>
                <c:pt idx="12">
                  <c:v>118</c:v>
                </c:pt>
                <c:pt idx="13">
                  <c:v>122</c:v>
                </c:pt>
                <c:pt idx="14">
                  <c:v>124</c:v>
                </c:pt>
                <c:pt idx="15">
                  <c:v>127</c:v>
                </c:pt>
                <c:pt idx="16">
                  <c:v>126</c:v>
                </c:pt>
                <c:pt idx="17">
                  <c:v>130</c:v>
                </c:pt>
                <c:pt idx="18">
                  <c:v>131</c:v>
                </c:pt>
                <c:pt idx="19">
                  <c:v>128</c:v>
                </c:pt>
                <c:pt idx="20">
                  <c:v>127</c:v>
                </c:pt>
                <c:pt idx="21">
                  <c:v>129</c:v>
                </c:pt>
                <c:pt idx="22">
                  <c:v>128</c:v>
                </c:pt>
                <c:pt idx="23">
                  <c:v>131</c:v>
                </c:pt>
                <c:pt idx="24">
                  <c:v>132</c:v>
                </c:pt>
                <c:pt idx="25">
                  <c:v>132</c:v>
                </c:pt>
                <c:pt idx="26">
                  <c:v>136</c:v>
                </c:pt>
                <c:pt idx="27">
                  <c:v>140</c:v>
                </c:pt>
                <c:pt idx="28">
                  <c:v>138</c:v>
                </c:pt>
                <c:pt idx="29">
                  <c:v>137</c:v>
                </c:pt>
                <c:pt idx="30">
                  <c:v>140</c:v>
                </c:pt>
                <c:pt idx="31">
                  <c:v>141</c:v>
                </c:pt>
                <c:pt idx="32">
                  <c:v>148</c:v>
                </c:pt>
                <c:pt idx="33">
                  <c:v>155</c:v>
                </c:pt>
                <c:pt idx="34">
                  <c:v>157</c:v>
                </c:pt>
                <c:pt idx="35">
                  <c:v>160</c:v>
                </c:pt>
                <c:pt idx="36">
                  <c:v>163</c:v>
                </c:pt>
                <c:pt idx="37">
                  <c:v>162</c:v>
                </c:pt>
                <c:pt idx="38">
                  <c:v>165</c:v>
                </c:pt>
                <c:pt idx="39">
                  <c:v>170</c:v>
                </c:pt>
                <c:pt idx="40">
                  <c:v>170</c:v>
                </c:pt>
                <c:pt idx="41">
                  <c:v>175</c:v>
                </c:pt>
                <c:pt idx="42">
                  <c:v>178</c:v>
                </c:pt>
                <c:pt idx="43">
                  <c:v>180</c:v>
                </c:pt>
                <c:pt idx="44">
                  <c:v>182</c:v>
                </c:pt>
                <c:pt idx="45">
                  <c:v>184</c:v>
                </c:pt>
                <c:pt idx="46">
                  <c:v>186</c:v>
                </c:pt>
                <c:pt idx="47">
                  <c:v>195</c:v>
                </c:pt>
                <c:pt idx="48">
                  <c:v>200</c:v>
                </c:pt>
                <c:pt idx="49">
                  <c:v>206</c:v>
                </c:pt>
                <c:pt idx="50">
                  <c:v>211</c:v>
                </c:pt>
                <c:pt idx="51">
                  <c:v>213</c:v>
                </c:pt>
                <c:pt idx="52">
                  <c:v>223</c:v>
                </c:pt>
                <c:pt idx="53">
                  <c:v>252</c:v>
                </c:pt>
                <c:pt idx="54">
                  <c:v>259</c:v>
                </c:pt>
                <c:pt idx="55">
                  <c:v>267</c:v>
                </c:pt>
                <c:pt idx="56">
                  <c:v>271</c:v>
                </c:pt>
                <c:pt idx="57">
                  <c:v>277</c:v>
                </c:pt>
                <c:pt idx="58">
                  <c:v>280</c:v>
                </c:pt>
                <c:pt idx="59">
                  <c:v>307</c:v>
                </c:pt>
                <c:pt idx="60">
                  <c:v>347</c:v>
                </c:pt>
                <c:pt idx="61">
                  <c:v>382</c:v>
                </c:pt>
                <c:pt idx="62">
                  <c:v>421</c:v>
                </c:pt>
                <c:pt idx="63">
                  <c:v>452</c:v>
                </c:pt>
                <c:pt idx="64">
                  <c:v>475</c:v>
                </c:pt>
                <c:pt idx="65">
                  <c:v>488</c:v>
                </c:pt>
                <c:pt idx="66">
                  <c:v>536</c:v>
                </c:pt>
                <c:pt idx="67">
                  <c:v>591</c:v>
                </c:pt>
                <c:pt idx="68">
                  <c:v>638</c:v>
                </c:pt>
                <c:pt idx="69">
                  <c:v>662</c:v>
                </c:pt>
                <c:pt idx="70">
                  <c:v>726</c:v>
                </c:pt>
                <c:pt idx="71">
                  <c:v>771</c:v>
                </c:pt>
                <c:pt idx="72">
                  <c:v>800</c:v>
                </c:pt>
                <c:pt idx="73">
                  <c:v>874</c:v>
                </c:pt>
                <c:pt idx="74">
                  <c:v>948</c:v>
                </c:pt>
                <c:pt idx="75">
                  <c:v>1009</c:v>
                </c:pt>
                <c:pt idx="76">
                  <c:v>1061</c:v>
                </c:pt>
                <c:pt idx="77">
                  <c:v>1146</c:v>
                </c:pt>
                <c:pt idx="78">
                  <c:v>1174</c:v>
                </c:pt>
                <c:pt idx="79">
                  <c:v>1177</c:v>
                </c:pt>
                <c:pt idx="80">
                  <c:v>1210</c:v>
                </c:pt>
                <c:pt idx="81">
                  <c:v>1277</c:v>
                </c:pt>
                <c:pt idx="82">
                  <c:v>1359</c:v>
                </c:pt>
                <c:pt idx="83">
                  <c:v>1444</c:v>
                </c:pt>
                <c:pt idx="84">
                  <c:v>1509</c:v>
                </c:pt>
                <c:pt idx="85">
                  <c:v>1552</c:v>
                </c:pt>
                <c:pt idx="86">
                  <c:v>1562</c:v>
                </c:pt>
                <c:pt idx="87">
                  <c:v>1549</c:v>
                </c:pt>
                <c:pt idx="88">
                  <c:v>1617</c:v>
                </c:pt>
                <c:pt idx="89">
                  <c:v>1669</c:v>
                </c:pt>
                <c:pt idx="90">
                  <c:v>1716</c:v>
                </c:pt>
                <c:pt idx="91">
                  <c:v>1852</c:v>
                </c:pt>
                <c:pt idx="92">
                  <c:v>1931</c:v>
                </c:pt>
                <c:pt idx="93">
                  <c:v>1975</c:v>
                </c:pt>
                <c:pt idx="94">
                  <c:v>2008</c:v>
                </c:pt>
                <c:pt idx="95">
                  <c:v>2062</c:v>
                </c:pt>
                <c:pt idx="96">
                  <c:v>2103</c:v>
                </c:pt>
                <c:pt idx="97">
                  <c:v>2221</c:v>
                </c:pt>
                <c:pt idx="98">
                  <c:v>2208</c:v>
                </c:pt>
                <c:pt idx="99">
                  <c:v>2257</c:v>
                </c:pt>
                <c:pt idx="100">
                  <c:v>2281</c:v>
                </c:pt>
                <c:pt idx="101">
                  <c:v>2252</c:v>
                </c:pt>
                <c:pt idx="102">
                  <c:v>2242</c:v>
                </c:pt>
                <c:pt idx="103">
                  <c:v>2329</c:v>
                </c:pt>
                <c:pt idx="104">
                  <c:v>2234</c:v>
                </c:pt>
                <c:pt idx="105">
                  <c:v>2169</c:v>
                </c:pt>
                <c:pt idx="106">
                  <c:v>2172</c:v>
                </c:pt>
                <c:pt idx="107">
                  <c:v>2148</c:v>
                </c:pt>
                <c:pt idx="108">
                  <c:v>2064</c:v>
                </c:pt>
                <c:pt idx="109">
                  <c:v>2019</c:v>
                </c:pt>
                <c:pt idx="110">
                  <c:v>1956</c:v>
                </c:pt>
                <c:pt idx="111">
                  <c:v>1889</c:v>
                </c:pt>
                <c:pt idx="112">
                  <c:v>1822</c:v>
                </c:pt>
                <c:pt idx="113">
                  <c:v>1823</c:v>
                </c:pt>
                <c:pt idx="114">
                  <c:v>1797</c:v>
                </c:pt>
                <c:pt idx="115">
                  <c:v>1674</c:v>
                </c:pt>
                <c:pt idx="116">
                  <c:v>1665</c:v>
                </c:pt>
                <c:pt idx="117">
                  <c:v>1630</c:v>
                </c:pt>
                <c:pt idx="118">
                  <c:v>1564</c:v>
                </c:pt>
                <c:pt idx="119">
                  <c:v>1516</c:v>
                </c:pt>
                <c:pt idx="120">
                  <c:v>1512</c:v>
                </c:pt>
                <c:pt idx="121">
                  <c:v>1484</c:v>
                </c:pt>
                <c:pt idx="122">
                  <c:v>1361</c:v>
                </c:pt>
                <c:pt idx="123">
                  <c:v>1304</c:v>
                </c:pt>
                <c:pt idx="124">
                  <c:v>1237</c:v>
                </c:pt>
                <c:pt idx="125">
                  <c:v>1216</c:v>
                </c:pt>
                <c:pt idx="126">
                  <c:v>1132</c:v>
                </c:pt>
                <c:pt idx="127">
                  <c:v>1094</c:v>
                </c:pt>
                <c:pt idx="128">
                  <c:v>1055</c:v>
                </c:pt>
                <c:pt idx="129">
                  <c:v>927</c:v>
                </c:pt>
                <c:pt idx="130">
                  <c:v>923</c:v>
                </c:pt>
                <c:pt idx="131">
                  <c:v>885</c:v>
                </c:pt>
                <c:pt idx="132">
                  <c:v>856</c:v>
                </c:pt>
                <c:pt idx="133">
                  <c:v>843</c:v>
                </c:pt>
                <c:pt idx="134">
                  <c:v>816</c:v>
                </c:pt>
                <c:pt idx="135">
                  <c:v>787</c:v>
                </c:pt>
                <c:pt idx="136">
                  <c:v>754</c:v>
                </c:pt>
                <c:pt idx="137">
                  <c:v>779</c:v>
                </c:pt>
                <c:pt idx="138">
                  <c:v>780</c:v>
                </c:pt>
                <c:pt idx="139">
                  <c:v>810</c:v>
                </c:pt>
                <c:pt idx="140">
                  <c:v>864</c:v>
                </c:pt>
                <c:pt idx="141">
                  <c:v>875</c:v>
                </c:pt>
                <c:pt idx="142">
                  <c:v>870</c:v>
                </c:pt>
                <c:pt idx="143">
                  <c:v>855</c:v>
                </c:pt>
                <c:pt idx="144">
                  <c:v>880</c:v>
                </c:pt>
                <c:pt idx="145">
                  <c:v>912</c:v>
                </c:pt>
                <c:pt idx="146">
                  <c:v>922</c:v>
                </c:pt>
                <c:pt idx="147">
                  <c:v>968</c:v>
                </c:pt>
                <c:pt idx="148">
                  <c:v>1010</c:v>
                </c:pt>
                <c:pt idx="149">
                  <c:v>1025</c:v>
                </c:pt>
                <c:pt idx="150">
                  <c:v>1088</c:v>
                </c:pt>
                <c:pt idx="151">
                  <c:v>1216</c:v>
                </c:pt>
                <c:pt idx="152">
                  <c:v>1361</c:v>
                </c:pt>
                <c:pt idx="153">
                  <c:v>1515</c:v>
                </c:pt>
                <c:pt idx="154">
                  <c:v>1553</c:v>
                </c:pt>
                <c:pt idx="155">
                  <c:v>1593</c:v>
                </c:pt>
                <c:pt idx="156">
                  <c:v>1590</c:v>
                </c:pt>
                <c:pt idx="157">
                  <c:v>1685</c:v>
                </c:pt>
                <c:pt idx="158">
                  <c:v>1949</c:v>
                </c:pt>
                <c:pt idx="159">
                  <c:v>2285</c:v>
                </c:pt>
                <c:pt idx="160">
                  <c:v>2356</c:v>
                </c:pt>
                <c:pt idx="161">
                  <c:v>2578</c:v>
                </c:pt>
                <c:pt idx="162">
                  <c:v>2493</c:v>
                </c:pt>
                <c:pt idx="163">
                  <c:v>2483</c:v>
                </c:pt>
                <c:pt idx="164">
                  <c:v>2604</c:v>
                </c:pt>
                <c:pt idx="165">
                  <c:v>2970</c:v>
                </c:pt>
                <c:pt idx="166">
                  <c:v>3177</c:v>
                </c:pt>
                <c:pt idx="167">
                  <c:v>3151</c:v>
                </c:pt>
                <c:pt idx="168">
                  <c:v>3081</c:v>
                </c:pt>
                <c:pt idx="169">
                  <c:v>2924</c:v>
                </c:pt>
                <c:pt idx="170">
                  <c:v>2689</c:v>
                </c:pt>
                <c:pt idx="171">
                  <c:v>2781</c:v>
                </c:pt>
                <c:pt idx="172">
                  <c:v>2999</c:v>
                </c:pt>
                <c:pt idx="173">
                  <c:v>3156</c:v>
                </c:pt>
                <c:pt idx="174">
                  <c:v>2866</c:v>
                </c:pt>
                <c:pt idx="175">
                  <c:v>2686</c:v>
                </c:pt>
                <c:pt idx="176">
                  <c:v>2455</c:v>
                </c:pt>
                <c:pt idx="177">
                  <c:v>2217</c:v>
                </c:pt>
                <c:pt idx="178">
                  <c:v>2179</c:v>
                </c:pt>
                <c:pt idx="179">
                  <c:v>2322</c:v>
                </c:pt>
                <c:pt idx="180">
                  <c:v>2342</c:v>
                </c:pt>
                <c:pt idx="181">
                  <c:v>2011</c:v>
                </c:pt>
                <c:pt idx="182">
                  <c:v>18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0.02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8455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4431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783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4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5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123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213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2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98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2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7904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2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6708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2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249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2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523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2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09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68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2633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92141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0347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77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15433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0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681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082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206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531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392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231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20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754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20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17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2097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notesSlide" Target="../notesSlides/notesSlide21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chart" Target="../charts/char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chart" Target="../charts/chart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notesSlide" Target="../notesSlides/notesSlide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chart" Target="../charts/char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chart" Target="../charts/char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notesSlide" Target="../notesSlides/notesSlide23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chart" Target="../charts/char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chart" Target="../charts/char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notesSlide" Target="../notesSlides/notesSlide24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chart" Target="../charts/chart1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chart" Target="../charts/chart17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5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chart" Target="../charts/chart18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6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4" Type="http://schemas.openxmlformats.org/officeDocument/2006/relationships/tags" Target="../tags/tag6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chart" Target="../charts/chart19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7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chart" Target="../charts/chart20.xml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8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4" Type="http://schemas.openxmlformats.org/officeDocument/2006/relationships/chart" Target="../charts/char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: souhrnný přehled stavu očkování a zátěže COVID-19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8 % a sestry 84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8303700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3447431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92541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856564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4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19. 2. 2022 </a:t>
            </a:r>
          </a:p>
        </p:txBody>
      </p:sp>
    </p:spTree>
    <p:extLst>
      <p:ext uri="{BB962C8B-B14F-4D97-AF65-F5344CB8AC3E}">
        <p14:creationId xmlns:p14="http://schemas.microsoft.com/office/powerpoint/2010/main" val="2971696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81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/2021 –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8. 2. 2022</a:t>
            </a:r>
          </a:p>
        </p:txBody>
      </p:sp>
    </p:spTree>
    <p:extLst>
      <p:ext uri="{BB962C8B-B14F-4D97-AF65-F5344CB8AC3E}">
        <p14:creationId xmlns:p14="http://schemas.microsoft.com/office/powerpoint/2010/main" val="23894532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10/2021 – 01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8. 2. 2022</a:t>
            </a:r>
          </a:p>
        </p:txBody>
      </p:sp>
    </p:spTree>
    <p:extLst>
      <p:ext uri="{BB962C8B-B14F-4D97-AF65-F5344CB8AC3E}">
        <p14:creationId xmlns:p14="http://schemas.microsoft.com/office/powerpoint/2010/main" val="21150520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02/202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8. 2. 2022</a:t>
            </a:r>
          </a:p>
        </p:txBody>
      </p:sp>
    </p:spTree>
    <p:extLst>
      <p:ext uri="{BB962C8B-B14F-4D97-AF65-F5344CB8AC3E}">
        <p14:creationId xmlns:p14="http://schemas.microsoft.com/office/powerpoint/2010/main" val="31302752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9. 2. 2022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758484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ABEA05EB-6626-4B0A-A47D-F85F5E222E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28281"/>
              </p:ext>
            </p:extLst>
          </p:nvPr>
        </p:nvGraphicFramePr>
        <p:xfrm>
          <a:off x="1943097" y="1600988"/>
          <a:ext cx="9946013" cy="4555965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493149274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4131648148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027815069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21804964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337561739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893041603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4237499476"/>
                    </a:ext>
                  </a:extLst>
                </a:gridCol>
              </a:tblGrid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5089722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6C9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2545095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891504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2742211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858830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738782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0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1860566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7861342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144942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2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4680185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1496216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0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E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3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5945894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7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976067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C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1629824"/>
                  </a:ext>
                </a:extLst>
              </a:tr>
              <a:tr h="30373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056884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9. 2. 2022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9404779"/>
              </p:ext>
            </p:extLst>
          </p:nvPr>
        </p:nvGraphicFramePr>
        <p:xfrm>
          <a:off x="302889" y="921878"/>
          <a:ext cx="11586222" cy="5235072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6578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5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1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6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9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 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 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 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2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 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 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 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3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 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 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7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4 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0 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 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 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 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 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1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 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 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1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4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 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 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 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 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 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9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2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038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4 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91 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352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68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6 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214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29 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48535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24A2C78B-7E52-4AA6-B37A-62B6C2E5EC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139587"/>
              </p:ext>
            </p:extLst>
          </p:nvPr>
        </p:nvGraphicFramePr>
        <p:xfrm>
          <a:off x="2419349" y="1343818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0061823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4505076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32659983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1641768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7118298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212980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09843506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81748607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20199494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2080205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93300267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92075879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96317966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85290222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01701498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424619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97553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108377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42206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331021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7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29094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2962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38038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583420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3146166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F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766590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748851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180116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9. 2. 2022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7446580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66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5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5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2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 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A0E17-AC87-4A06-8BFF-D4626ED2DB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208206"/>
              </p:ext>
            </p:extLst>
          </p:nvPr>
        </p:nvGraphicFramePr>
        <p:xfrm>
          <a:off x="2419349" y="1343819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69778846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9985932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61765805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62478145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672757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72863695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65494788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4990738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98017931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1120307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54897533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29589701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5179655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856873716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56620989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63563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864600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03566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801367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2314783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09376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4308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18959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670089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3599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00615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195975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C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B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247352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 </a:t>
            </a:r>
            <a:r>
              <a:rPr lang="cs-CZ" sz="1100" dirty="0">
                <a:solidFill>
                  <a:srgbClr val="000000"/>
                </a:solidFill>
              </a:rPr>
              <a:t>a ve více typech zdravotnických zařízení.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D8455FB-AA19-461A-A8C9-7539A364F2DC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9. 2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AF1561B3-7273-473B-A2DD-A77D8870E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1175372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83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5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8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8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0000"/>
                </a:solidFill>
              </a:rPr>
              <a:t>Přehled stavu očkování ZP </a:t>
            </a: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428029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52482748-7777-4FEF-A872-F35246E600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7529732"/>
              </p:ext>
            </p:extLst>
          </p:nvPr>
        </p:nvGraphicFramePr>
        <p:xfrm>
          <a:off x="2419349" y="1343818"/>
          <a:ext cx="9600585" cy="4485715"/>
        </p:xfrm>
        <a:graphic>
          <a:graphicData uri="http://schemas.openxmlformats.org/drawingml/2006/table">
            <a:tbl>
              <a:tblPr/>
              <a:tblGrid>
                <a:gridCol w="640039">
                  <a:extLst>
                    <a:ext uri="{9D8B030D-6E8A-4147-A177-3AD203B41FA5}">
                      <a16:colId xmlns:a16="http://schemas.microsoft.com/office/drawing/2014/main" val="171724549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3855175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1497195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6541381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00822395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420791113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2403337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624564092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4356452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52023648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287445243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944560054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4149686087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3185689110"/>
                    </a:ext>
                  </a:extLst>
                </a:gridCol>
                <a:gridCol w="640039">
                  <a:extLst>
                    <a:ext uri="{9D8B030D-6E8A-4147-A177-3AD203B41FA5}">
                      <a16:colId xmlns:a16="http://schemas.microsoft.com/office/drawing/2014/main" val="1002258274"/>
                    </a:ext>
                  </a:extLst>
                </a:gridCol>
              </a:tblGrid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4296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585959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333304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586566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61834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819629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33934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001425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37561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7068108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3313172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430254"/>
                  </a:ext>
                </a:extLst>
              </a:tr>
              <a:tr h="345055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6375905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 a ve více typech zdravotnických zařízen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8BE7577-D0D0-4CAF-8960-5C7A9603C643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9. 2. 2022 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0FC5E21-D439-468C-9A0B-56B392BA28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5779511"/>
              </p:ext>
            </p:extLst>
          </p:nvPr>
        </p:nvGraphicFramePr>
        <p:xfrm>
          <a:off x="172060" y="835886"/>
          <a:ext cx="11847876" cy="4993645"/>
        </p:xfrm>
        <a:graphic>
          <a:graphicData uri="http://schemas.openxmlformats.org/drawingml/2006/table">
            <a:tbl>
              <a:tblPr/>
              <a:tblGrid>
                <a:gridCol w="2249451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39895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9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43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3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0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8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0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3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0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45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časné nákazy a virová zátěž ZP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24292118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18. 2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6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5 (3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1 (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7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7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9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3 (2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6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5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7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1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4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9 (6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03 (17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65 (14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 (38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3560253" y="1540420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3743195" y="1371146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 denní klouzavý průměr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3560253" y="1835695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1322349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9198524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*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18. 2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723900" y="6567385"/>
            <a:ext cx="4933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4745385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1451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20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8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107070DB-7A5B-419B-A663-E01DC064A02B}"/>
              </a:ext>
            </a:extLst>
          </p:cNvPr>
          <p:cNvSpPr txBox="1"/>
          <p:nvPr/>
        </p:nvSpPr>
        <p:spPr>
          <a:xfrm>
            <a:off x="6095202" y="6093400"/>
            <a:ext cx="609679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očty aktuálně pozitivních ZP jsou nadhodnocené z důvodu zpoždění v aktualizaci údajů o negativitě/ vyléčení, které u ZP provádí KHS. Odhadovaný počet pravděpodobně již negativních ZP je 45 celkem (4 lékařů, 25 sester, 16 jiných ZP), odhad vychází z počtu aktuálně pozitivních ZP s datem pozitivity starším než 14 dní.</a:t>
            </a:r>
          </a:p>
        </p:txBody>
      </p:sp>
    </p:spTree>
    <p:extLst>
      <p:ext uri="{BB962C8B-B14F-4D97-AF65-F5344CB8AC3E}">
        <p14:creationId xmlns:p14="http://schemas.microsoft.com/office/powerpoint/2010/main" val="20920255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lékařů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A29735D-E67B-4582-988F-B716296F695C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32434914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2783236E-7848-4370-8C68-345D039C0ED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33524241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1.–22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1.–29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1.–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2.–12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2.–19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2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3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0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2320A3AA-3AFD-4C4E-8A1C-EA871A98FEDC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6766421" y="4668253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7E510493-60A7-4A3A-A34C-2EF9447FBC6D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8234672" y="4667149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04B15B8A-6F40-40B0-9C6D-4BE159A69F6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9946609" y="3422165"/>
            <a:ext cx="864268" cy="1547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223E1B88-4B2C-4081-AAB0-ABA4F1890253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1068375" y="3422165"/>
            <a:ext cx="799775" cy="10164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58122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438411" cy="576000"/>
          </a:xfrm>
        </p:spPr>
        <p:txBody>
          <a:bodyPr/>
          <a:lstStyle/>
          <a:p>
            <a:r>
              <a:rPr lang="cs-CZ" dirty="0"/>
              <a:t>Počty COVID-19 pozitivních na 100 000 osob v populaci lékařů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757297"/>
            <a:ext cx="14381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lékařů (suma za hodnocený časový úsek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A1A17EB-9ECA-4C24-8912-EF92363C1C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3257060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1804359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aktivních sester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94257719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69360511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otovo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1.–22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1.–29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1.–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2.–12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2.–19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8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88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5.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8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89681569-0B3B-41A7-BBC5-45E04A4B351F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6794996" y="4668253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307C7006-CCE6-49DC-817A-9B387F1C33F8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8263247" y="4667149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128DE629-B704-4719-8DEE-A5F21EF8092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9920039" y="3222140"/>
            <a:ext cx="690811" cy="1547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263B6BDE-9A12-49AA-A119-880B01936743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1041805" y="3222140"/>
            <a:ext cx="845395" cy="13403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3009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2694" cy="576000"/>
          </a:xfrm>
        </p:spPr>
        <p:txBody>
          <a:bodyPr/>
          <a:lstStyle/>
          <a:p>
            <a:r>
              <a:rPr lang="cs-CZ" dirty="0"/>
              <a:t>Počty COVID-19 pozitivních na 100 000 osob v populaci sester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49877" y="1757297"/>
            <a:ext cx="13925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sester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AB75CD35-D60A-4842-A868-455961D2CCC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1676942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31129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ostatních ZP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9128C58E-C8E1-4A9A-AA38-61B78B4C5A96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346838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49BB5BC4-8F9B-4AC8-9A14-74B8F167DD4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96747567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1.–22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1.–29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1.–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2.–12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2.–19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0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7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3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3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1402A2C9-B62B-49F0-ADE9-25EB6256DC3A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6766421" y="4668253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4C4032AF-598C-4AB8-B9DE-7ED4275A1905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8234672" y="4667149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1F2CCC0B-2D00-4043-B0D2-CFA20A0759FB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9851359" y="3143250"/>
            <a:ext cx="807116" cy="14068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D6BBB471-04DD-44FB-95A7-2201BE912C65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1251534" y="3143250"/>
            <a:ext cx="645191" cy="12001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17053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8" y="2"/>
            <a:ext cx="8647961" cy="576000"/>
          </a:xfrm>
        </p:spPr>
        <p:txBody>
          <a:bodyPr/>
          <a:lstStyle/>
          <a:p>
            <a:r>
              <a:rPr lang="cs-CZ" dirty="0"/>
              <a:t>Počty COVID-19 pozitivních na 100 000 osob v populaci ostatních ZP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ostatních ZP (suma za hodnocený časový úsek)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48FC8E2C-EA85-4B60-9865-EAD22E25BEC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39621"/>
              </p:ext>
            </p:extLst>
          </p:nvPr>
        </p:nvGraphicFramePr>
        <p:xfrm>
          <a:off x="1322168" y="138269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392391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95147" y="695624"/>
            <a:ext cx="116017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dávku vakcinace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% lékařů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4 % sesterských povolá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 % ostatních zdravotnických povolání</a:t>
            </a: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513717" y="23550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57785" y="3112624"/>
            <a:ext cx="1176796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 ZP během podzimu 2021 vzrostla, a to ve všech profesních skupinách. Celková proočkovanost ZP dosahuje 83,7 % (jen ZP skutečně aktivní ve zdravotnictví). Roste i proočkovanost posilující dávkou. Z pracovníků, kteří na ni mají (časově) nárok, ji dosud absolvovalo 88,3 % lékařů, 78,8 % sester a 74,8 % ostatních NLZP (celkem 79,5 % všech aktivních ZP s nárokem na booster)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513717" y="622116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ZP CELKEM</a:t>
            </a:r>
          </a:p>
        </p:txBody>
      </p:sp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Chart 4">
            <a:extLst>
              <a:ext uri="{FF2B5EF4-FFF2-40B4-BE49-F238E27FC236}">
                <a16:creationId xmlns:a16="http://schemas.microsoft.com/office/drawing/2014/main" id="{53E2D82D-108B-4D73-94F6-FBD731C2D303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68568580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Table 11">
            <a:extLst>
              <a:ext uri="{FF2B5EF4-FFF2-40B4-BE49-F238E27FC236}">
                <a16:creationId xmlns:a16="http://schemas.microsoft.com/office/drawing/2014/main" id="{F11535AB-AF88-4B35-89FD-7232D9821B3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99193421"/>
              </p:ext>
            </p:extLst>
          </p:nvPr>
        </p:nvGraphicFramePr>
        <p:xfrm>
          <a:off x="931755" y="631456"/>
          <a:ext cx="10328489" cy="223696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1.–22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1.–29. 1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1.–5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2.–12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2.–19. 2. 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6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1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2 případ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5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2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.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</a:tbl>
          </a:graphicData>
        </a:graphic>
      </p:graphicFrame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9784ABF4-90ED-4F1B-AB94-3024A02BFA2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6766421" y="4668253"/>
            <a:ext cx="1189962" cy="313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6C34FA21-A40F-47E4-B215-CB96C1E6F88C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8234672" y="4667149"/>
            <a:ext cx="1067803" cy="226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45783179-72FB-412A-BD1D-9BA73ECA83EB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V="1">
            <a:off x="9851359" y="3114675"/>
            <a:ext cx="816641" cy="14354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6664C821-61EF-4F87-B839-85EC4133332D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1137234" y="3114675"/>
            <a:ext cx="740441" cy="12477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27597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882FD40-86EC-4B0A-A075-EF6A0EDD728F}"/>
              </a:ext>
            </a:extLst>
          </p:cNvPr>
          <p:cNvGraphicFramePr>
            <a:graphicFrameLocks noGrp="1"/>
          </p:cNvGraphicFramePr>
          <p:nvPr/>
        </p:nvGraphicFramePr>
        <p:xfrm>
          <a:off x="2349381" y="2270190"/>
          <a:ext cx="9269232" cy="3621120"/>
        </p:xfrm>
        <a:graphic>
          <a:graphicData uri="http://schemas.openxmlformats.org/drawingml/2006/table">
            <a:tbl>
              <a:tblPr/>
              <a:tblGrid>
                <a:gridCol w="772436">
                  <a:extLst>
                    <a:ext uri="{9D8B030D-6E8A-4147-A177-3AD203B41FA5}">
                      <a16:colId xmlns:a16="http://schemas.microsoft.com/office/drawing/2014/main" val="364022344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386480578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3882964599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1534800127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1000754829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1528238538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2385464283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2179029564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4101917816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546955123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3981109773"/>
                    </a:ext>
                  </a:extLst>
                </a:gridCol>
                <a:gridCol w="772436">
                  <a:extLst>
                    <a:ext uri="{9D8B030D-6E8A-4147-A177-3AD203B41FA5}">
                      <a16:colId xmlns:a16="http://schemas.microsoft.com/office/drawing/2014/main" val="289280227"/>
                    </a:ext>
                  </a:extLst>
                </a:gridCol>
              </a:tblGrid>
              <a:tr h="24140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8856020"/>
                  </a:ext>
                </a:extLst>
              </a:tr>
              <a:tr h="24140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494303"/>
                  </a:ext>
                </a:extLst>
              </a:tr>
              <a:tr h="24140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B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5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464026"/>
                  </a:ext>
                </a:extLst>
              </a:tr>
              <a:tr h="24140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38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8438620"/>
                  </a:ext>
                </a:extLst>
              </a:tr>
              <a:tr h="24140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7489715"/>
                  </a:ext>
                </a:extLst>
              </a:tr>
              <a:tr h="24140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2203371"/>
                  </a:ext>
                </a:extLst>
              </a:tr>
              <a:tr h="24140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8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2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4282900"/>
                  </a:ext>
                </a:extLst>
              </a:tr>
              <a:tr h="24140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5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1188682"/>
                  </a:ext>
                </a:extLst>
              </a:tr>
              <a:tr h="24140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8602949"/>
                  </a:ext>
                </a:extLst>
              </a:tr>
              <a:tr h="24140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99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9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8958827"/>
                  </a:ext>
                </a:extLst>
              </a:tr>
              <a:tr h="24140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6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5305959"/>
                  </a:ext>
                </a:extLst>
              </a:tr>
              <a:tr h="24140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8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6A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B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2759368"/>
                  </a:ext>
                </a:extLst>
              </a:tr>
              <a:tr h="24140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5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648842"/>
                  </a:ext>
                </a:extLst>
              </a:tr>
              <a:tr h="24140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6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3957392"/>
                  </a:ext>
                </a:extLst>
              </a:tr>
              <a:tr h="241408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E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4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2281530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,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v k 18. 2. 2022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ýkaz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 (MZ) 2-01, E (MZ) 3-01 a E (MZ) 4-01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7557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82819F0-23C8-4156-8410-D04E8BF45D84}"/>
              </a:ext>
            </a:extLst>
          </p:cNvPr>
          <p:cNvGraphicFramePr>
            <a:graphicFrameLocks noGrp="1"/>
          </p:cNvGraphicFramePr>
          <p:nvPr/>
        </p:nvGraphicFramePr>
        <p:xfrm>
          <a:off x="3786258" y="2004675"/>
          <a:ext cx="7348908" cy="3988245"/>
        </p:xfrm>
        <a:graphic>
          <a:graphicData uri="http://schemas.openxmlformats.org/drawingml/2006/table">
            <a:tbl>
              <a:tblPr/>
              <a:tblGrid>
                <a:gridCol w="1837227">
                  <a:extLst>
                    <a:ext uri="{9D8B030D-6E8A-4147-A177-3AD203B41FA5}">
                      <a16:colId xmlns:a16="http://schemas.microsoft.com/office/drawing/2014/main" val="3299743602"/>
                    </a:ext>
                  </a:extLst>
                </a:gridCol>
                <a:gridCol w="1837227">
                  <a:extLst>
                    <a:ext uri="{9D8B030D-6E8A-4147-A177-3AD203B41FA5}">
                      <a16:colId xmlns:a16="http://schemas.microsoft.com/office/drawing/2014/main" val="1284079400"/>
                    </a:ext>
                  </a:extLst>
                </a:gridCol>
                <a:gridCol w="1837227">
                  <a:extLst>
                    <a:ext uri="{9D8B030D-6E8A-4147-A177-3AD203B41FA5}">
                      <a16:colId xmlns:a16="http://schemas.microsoft.com/office/drawing/2014/main" val="2897924062"/>
                    </a:ext>
                  </a:extLst>
                </a:gridCol>
                <a:gridCol w="1837227">
                  <a:extLst>
                    <a:ext uri="{9D8B030D-6E8A-4147-A177-3AD203B41FA5}">
                      <a16:colId xmlns:a16="http://schemas.microsoft.com/office/drawing/2014/main" val="1582785440"/>
                    </a:ext>
                  </a:extLst>
                </a:gridCol>
              </a:tblGrid>
              <a:tr h="26588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874359"/>
                  </a:ext>
                </a:extLst>
              </a:tr>
              <a:tr h="26588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8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658953"/>
                  </a:ext>
                </a:extLst>
              </a:tr>
              <a:tr h="26588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30187"/>
                  </a:ext>
                </a:extLst>
              </a:tr>
              <a:tr h="26588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5899694"/>
                  </a:ext>
                </a:extLst>
              </a:tr>
              <a:tr h="26588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8388694"/>
                  </a:ext>
                </a:extLst>
              </a:tr>
              <a:tr h="26588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3889859"/>
                  </a:ext>
                </a:extLst>
              </a:tr>
              <a:tr h="26588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6897853"/>
                  </a:ext>
                </a:extLst>
              </a:tr>
              <a:tr h="26588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61483"/>
                  </a:ext>
                </a:extLst>
              </a:tr>
              <a:tr h="26588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6401084"/>
                  </a:ext>
                </a:extLst>
              </a:tr>
              <a:tr h="26588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5654225"/>
                  </a:ext>
                </a:extLst>
              </a:tr>
              <a:tr h="26588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48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29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F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9465041"/>
                  </a:ext>
                </a:extLst>
              </a:tr>
              <a:tr h="26588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139288"/>
                  </a:ext>
                </a:extLst>
              </a:tr>
              <a:tr h="26588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42437"/>
                  </a:ext>
                </a:extLst>
              </a:tr>
              <a:tr h="26588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0248379"/>
                  </a:ext>
                </a:extLst>
              </a:tr>
              <a:tr h="265883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9056091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(63 / 14 / 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 (171 / 11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105 / - / 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 (339 / 25 / 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5 / 6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(59 / 7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(32 / -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106 / 13 / 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2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39 / 8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1 / 1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82 / 11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28 / 8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53 / 5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5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 (136 / 13 / 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2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4 / -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7 / 2 / 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7 / 7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57 / 7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33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97 / 15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6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46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29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81 / 5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8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54 / 10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30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112 / 13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 / 4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6 / 6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3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36 / 6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25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74 / 7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45 / 6 / 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136 / 11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76 / - / 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 (257 / 17 / 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2 / 10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73 / 5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36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131 / 16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4 / 2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40 / 4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6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60 / 6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42 / 5 / 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138 / 10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(71 / - / 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 (251 / 15 / 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 (287 / 69 / 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9 (918 / 91 / 3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6 (544 / 4 / 6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0 (1749 / 164 / 15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za 7denní období 12. 2. – 18. 2. 2022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00071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6"/>
            <a:ext cx="12192000" cy="189085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zdravotnických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ochranný efekt očkování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2363148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Graf 18">
            <a:extLst>
              <a:ext uri="{FF2B5EF4-FFF2-40B4-BE49-F238E27FC236}">
                <a16:creationId xmlns:a16="http://schemas.microsoft.com/office/drawing/2014/main" id="{9F4AC683-8737-42B2-B20A-B68F0E09747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6955249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09330" y="3624"/>
            <a:ext cx="1060071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lékařů</a:t>
            </a: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DCB03B0D-B5AE-4C94-AA9C-80A9AFAB3A8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10040354" y="688338"/>
          <a:ext cx="2087718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87718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CAC31A7-C4E4-4CB9-A28C-F3CA0F6BCD53}"/>
              </a:ext>
            </a:extLst>
          </p:cNvPr>
          <p:cNvGrpSpPr/>
          <p:nvPr/>
        </p:nvGrpSpPr>
        <p:grpSpPr>
          <a:xfrm>
            <a:off x="9538838" y="1327592"/>
            <a:ext cx="501515" cy="1254265"/>
            <a:chOff x="8290713" y="1759987"/>
            <a:chExt cx="501515" cy="1250887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FD1305BD-CC1F-4325-B17E-E074F40F83EA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DDBFA49-C2FE-4AFF-B76D-8EB31D6A128F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8129E1E-BF1C-472F-8CC0-5BD8B817DC29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91DD513-F902-4308-8D2D-0041A9E085F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262595" y="113926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ékaři</a:t>
            </a:r>
          </a:p>
        </p:txBody>
      </p:sp>
    </p:spTree>
    <p:extLst>
      <p:ext uri="{BB962C8B-B14F-4D97-AF65-F5344CB8AC3E}">
        <p14:creationId xmlns:p14="http://schemas.microsoft.com/office/powerpoint/2010/main" val="372285492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5">
            <a:extLst>
              <a:ext uri="{FF2B5EF4-FFF2-40B4-BE49-F238E27FC236}">
                <a16:creationId xmlns:a16="http://schemas.microsoft.com/office/drawing/2014/main" id="{28E7AE82-24A9-41BE-B694-86DAF8F51CA5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842089"/>
              </p:ext>
            </p:extLst>
          </p:nvPr>
        </p:nvGraphicFramePr>
        <p:xfrm>
          <a:off x="674256" y="495959"/>
          <a:ext cx="11145281" cy="4771466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2.1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4.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1.1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.2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2.6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5.0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98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3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3.1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6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3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5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7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2.2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3.0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39644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97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7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7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.6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.5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no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6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14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97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3.8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.0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824829"/>
                  </a:ext>
                </a:extLst>
              </a:tr>
            </a:tbl>
          </a:graphicData>
        </a:graphic>
      </p:graphicFrame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lékaři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35052" y="400583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kařů</a:t>
            </a: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/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4E5136DD-EA08-44B4-9244-D47999FE566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16838" y="5308992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2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B5B0BB0-5406-461D-A320-1D46AFD62DA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2533" y="5503310"/>
            <a:ext cx="117652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, což je mimo jiné i důsledek nastupujícího šíření varianty Omikron. Avšak posilující dávka vrací ochranu proti nákaze zpět nad hodnotu 70% až 85%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99360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691878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sester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C178D285-A32D-4871-A862-BC61198D872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3948594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CACBBA8F-BBEA-41AD-B21B-BD7C38F5B7F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9845118" y="579624"/>
          <a:ext cx="223755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55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872AF8AF-6F56-4654-870F-CC97618FC514}"/>
              </a:ext>
            </a:extLst>
          </p:cNvPr>
          <p:cNvGrpSpPr/>
          <p:nvPr/>
        </p:nvGrpSpPr>
        <p:grpSpPr>
          <a:xfrm>
            <a:off x="9343603" y="121887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3B83C382-2FF8-46A5-B7B1-F5A2112B8FAF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ABE03C28-DF98-4D7D-A364-9A2532B5B629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5577C716-2DF1-4C4D-A449-470CCD1CF044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E2311EC-4BA1-4F9D-AE8F-BD73941429C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564955" y="108211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stry</a:t>
            </a:r>
          </a:p>
        </p:txBody>
      </p:sp>
    </p:spTree>
    <p:extLst>
      <p:ext uri="{BB962C8B-B14F-4D97-AF65-F5344CB8AC3E}">
        <p14:creationId xmlns:p14="http://schemas.microsoft.com/office/powerpoint/2010/main" val="269884122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- sestry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350326" y="561308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sester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48E3B1A0-3774-4DF2-B327-D2E59F4128D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383223"/>
              </p:ext>
            </p:extLst>
          </p:nvPr>
        </p:nvGraphicFramePr>
        <p:xfrm>
          <a:off x="674256" y="495959"/>
          <a:ext cx="11145281" cy="4771466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5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9.0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9.0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2.9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9.4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26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6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4.1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4.6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2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6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.7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0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8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48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1.2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4.4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39644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31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90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28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.7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1.3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no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18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70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39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6.4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0.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824829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10B718C6-ACDE-41B4-88AC-D294748D963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6838" y="5308992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2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60BF9BDC-3546-4EFB-B79F-E26AF2FD3E4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62533" y="5503310"/>
            <a:ext cx="117652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, což je mimo jiné i důsledek nastupujícího šíření varianty Omikron. Avšak posilující dávka vrací ochranu proti nákaze zpět nad hodnotu 70% až 85%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621088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232925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: populace ostatních ZP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BCA7FE2D-9A22-4E27-8AAD-76AB5CBA288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2771663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7F64D008-F028-4889-A8FF-23078BA63F9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9954448" y="579624"/>
          <a:ext cx="223755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55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D5AA6126-8EEA-4823-8FCD-F259CFEF37F9}"/>
              </a:ext>
            </a:extLst>
          </p:cNvPr>
          <p:cNvGrpSpPr/>
          <p:nvPr/>
        </p:nvGrpSpPr>
        <p:grpSpPr>
          <a:xfrm>
            <a:off x="9452933" y="121887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AD889D77-74E3-4CE5-80F3-04C4B29F334B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30C53E4B-0409-431F-98B7-4CEE86F15841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E58D57F3-8815-4584-AB1E-6AEFFDDE0EDF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0" name="TextovéPole 9">
            <a:extLst>
              <a:ext uri="{FF2B5EF4-FFF2-40B4-BE49-F238E27FC236}">
                <a16:creationId xmlns:a16="http://schemas.microsoft.com/office/drawing/2014/main" id="{BAF2986A-797D-4FD1-8B50-CC939F22FF5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444630" y="1101168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ZP</a:t>
            </a:r>
          </a:p>
        </p:txBody>
      </p:sp>
    </p:spTree>
    <p:extLst>
      <p:ext uri="{BB962C8B-B14F-4D97-AF65-F5344CB8AC3E}">
        <p14:creationId xmlns:p14="http://schemas.microsoft.com/office/powerpoint/2010/main" val="259250779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ostatní ZP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479634" y="673357"/>
            <a:ext cx="43325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ostatních ZP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9" name="Table 5">
            <a:extLst>
              <a:ext uri="{FF2B5EF4-FFF2-40B4-BE49-F238E27FC236}">
                <a16:creationId xmlns:a16="http://schemas.microsoft.com/office/drawing/2014/main" id="{3A34DF44-1F74-4B9B-8287-01103BF10C4A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04752704"/>
              </p:ext>
            </p:extLst>
          </p:nvPr>
        </p:nvGraphicFramePr>
        <p:xfrm>
          <a:off x="674256" y="495959"/>
          <a:ext cx="11145281" cy="4771466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8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8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1.6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3.8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4.2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0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7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5.8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7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4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8.8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9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15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29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7.4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7.5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39644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479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51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84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9.8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5.3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no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34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58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9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7.1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3.3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824829"/>
                  </a:ext>
                </a:extLst>
              </a:tr>
            </a:tbl>
          </a:graphicData>
        </a:graphic>
      </p:graphicFrame>
      <p:sp>
        <p:nvSpPr>
          <p:cNvPr id="10" name="TextBox 6">
            <a:extLst>
              <a:ext uri="{FF2B5EF4-FFF2-40B4-BE49-F238E27FC236}">
                <a16:creationId xmlns:a16="http://schemas.microsoft.com/office/drawing/2014/main" id="{D98664E6-999B-44EC-B3F2-D555CAD112D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6838" y="5308992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2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AA5AD499-8C2E-4BE3-8217-ABA2C2AF7A1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62533" y="5503310"/>
            <a:ext cx="117652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, což je mimo jiné i důsledek nastupujícího šíření varianty Omikron. Avšak posilující dávka vrací ochranu proti nákaze zpět nad hodnotu 70% až 85%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12500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</a:t>
            </a:r>
            <a:r>
              <a:rPr lang="cs-CZ" u="sng" dirty="0"/>
              <a:t>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7793517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2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3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0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5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4 6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7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2. 2022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2FE90CF0-2B13-4453-9548-96577BE1828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9330" y="3624"/>
            <a:ext cx="11462559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ých případů COVID-19 na 100 tis. dané kategorie v populaci ZP celkem 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C0D3B3-E868-48ED-8B20-E9634620371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1909911"/>
              </p:ext>
            </p:ext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75D422DF-F902-4FEB-95E0-74A260757A7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9954448" y="579624"/>
          <a:ext cx="2237552" cy="2103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7552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3137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</a:t>
                      </a:r>
                    </a:p>
                    <a:p>
                      <a:r>
                        <a:rPr lang="cs-CZ" sz="1600" dirty="0"/>
                        <a:t>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571964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</a:t>
                      </a:r>
                    </a:p>
                    <a:p>
                      <a:r>
                        <a:rPr lang="cs-CZ" sz="1600" dirty="0"/>
                        <a:t>s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7CE6062-A746-4B16-BD2A-949B93077515}"/>
              </a:ext>
            </a:extLst>
          </p:cNvPr>
          <p:cNvGrpSpPr/>
          <p:nvPr/>
        </p:nvGrpSpPr>
        <p:grpSpPr>
          <a:xfrm>
            <a:off x="9452933" y="1218878"/>
            <a:ext cx="501515" cy="1254265"/>
            <a:chOff x="8290713" y="1759987"/>
            <a:chExt cx="501515" cy="1250887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7563C-7EBE-4F25-BEB6-D430463D6421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010874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8167A6-4279-4A9B-B47B-88A5FD918BA6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348462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FAA41837-EA61-4D95-BFBF-CF1F1DFE6706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759987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0" name="TextovéPole 9">
            <a:extLst>
              <a:ext uri="{FF2B5EF4-FFF2-40B4-BE49-F238E27FC236}">
                <a16:creationId xmlns:a16="http://schemas.microsoft.com/office/drawing/2014/main" id="{C4EFF008-6085-4463-9CB7-075FBFEB860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854205" y="1107964"/>
            <a:ext cx="22375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P celkem</a:t>
            </a:r>
          </a:p>
        </p:txBody>
      </p:sp>
    </p:spTree>
    <p:extLst>
      <p:ext uri="{BB962C8B-B14F-4D97-AF65-F5344CB8AC3E}">
        <p14:creationId xmlns:p14="http://schemas.microsoft.com/office/powerpoint/2010/main" val="161162522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počtu nákaz – ZP celkem 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4D7D87-2729-4F55-B1A0-2AB28A82B3C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35052" y="584090"/>
            <a:ext cx="4054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ozitivní na 100 tis. ZP celkem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D473318D-4099-4B9B-AF32-91E153367DA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115" y="638951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: relativní snížení výskytu nákaz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4C813269-00DE-42CD-868F-1A8124E15D9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22563166"/>
              </p:ext>
            </p:extLst>
          </p:nvPr>
        </p:nvGraphicFramePr>
        <p:xfrm>
          <a:off x="674256" y="495959"/>
          <a:ext cx="11145281" cy="4771466"/>
        </p:xfrm>
        <a:graphic>
          <a:graphicData uri="http://schemas.openxmlformats.org/drawingml/2006/table">
            <a:tbl>
              <a:tblPr/>
              <a:tblGrid>
                <a:gridCol w="1560945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235200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791855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1838036">
                  <a:extLst>
                    <a:ext uri="{9D8B030D-6E8A-4147-A177-3AD203B41FA5}">
                      <a16:colId xmlns:a16="http://schemas.microsoft.com/office/drawing/2014/main" val="205287478"/>
                    </a:ext>
                  </a:extLst>
                </a:gridCol>
                <a:gridCol w="1930400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  <a:gridCol w="1788845">
                  <a:extLst>
                    <a:ext uri="{9D8B030D-6E8A-4147-A177-3AD203B41FA5}">
                      <a16:colId xmlns:a16="http://schemas.microsoft.com/office/drawing/2014/main" val="3669102844"/>
                    </a:ext>
                  </a:extLst>
                </a:gridCol>
              </a:tblGrid>
              <a:tr h="394426"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2000" b="1" i="0" u="none" strike="noStrike" dirty="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82720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posilující dávk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 **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posilující dáv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BEZ posilující dávky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chranný efekt dokončeného očkování S posilující dávkou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0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0.5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9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578488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1.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290151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3.7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43900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-Říjen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4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0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1.9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5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48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5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.6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0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55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2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1.9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5.4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396447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312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81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0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5.4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.4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935764"/>
                  </a:ext>
                </a:extLst>
              </a:tr>
              <a:tr h="39442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no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018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1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12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3.9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.9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824829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9AE174D0-6698-4842-89D9-1FEEEAE58C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6838" y="5308992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2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49BE471-0E2C-462B-8FF7-F5902000E2F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62533" y="5503310"/>
            <a:ext cx="117652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 proti nákaze v čase významně klesá, což je mimo jiné i důsledek nastupujícího šíření varianty Omikron. Avšak posilující dávka vrací ochranu proti nákaze zpět nad hodnotu 70% až 85%. Zdravotničtí pracovníci jsou v tomto ohledu velmi důležitý model, jde o profesní skupinu primárně vystavenou riziku nákazy. Zásadním faktem ovšem je, že ochranný efekt vakcinace proti těžkému průběhu nemoci trvá i v této profesní kategorii. V současnosti registrujeme pouze jednotky ZP s těžším průběhem nemoci po očkování.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596677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97398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říloh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ákazy pracovníků sociálních služeb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římé hlášení od poskytovatelů)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31538267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, modul sociálních služeb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nově COVID-19 pozitivních pracovníků </a:t>
            </a:r>
            <a:br>
              <a:rPr lang="cs-CZ" dirty="0"/>
            </a:br>
            <a:r>
              <a:rPr lang="cs-CZ" dirty="0"/>
              <a:t>v zařízeních sociálních služeb</a:t>
            </a:r>
          </a:p>
        </p:txBody>
      </p:sp>
      <p:graphicFrame>
        <p:nvGraphicFramePr>
          <p:cNvPr id="7" name="Chart 31">
            <a:extLst>
              <a:ext uri="{FF2B5EF4-FFF2-40B4-BE49-F238E27FC236}">
                <a16:creationId xmlns:a16="http://schemas.microsoft.com/office/drawing/2014/main" id="{1A0DC1DF-8CED-49FC-A4A5-065F1A64BD52}"/>
              </a:ext>
            </a:extLst>
          </p:cNvPr>
          <p:cNvGraphicFramePr/>
          <p:nvPr/>
        </p:nvGraphicFramePr>
        <p:xfrm>
          <a:off x="407350" y="1059679"/>
          <a:ext cx="8523006" cy="548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2">
            <a:extLst>
              <a:ext uri="{FF2B5EF4-FFF2-40B4-BE49-F238E27FC236}">
                <a16:creationId xmlns:a16="http://schemas.microsoft.com/office/drawing/2014/main" id="{FDDA473E-2198-4E37-8DAB-7936176EB801}"/>
              </a:ext>
            </a:extLst>
          </p:cNvPr>
          <p:cNvSpPr txBox="1"/>
          <p:nvPr/>
        </p:nvSpPr>
        <p:spPr>
          <a:xfrm rot="16200000">
            <a:off x="-941446" y="3165866"/>
            <a:ext cx="25875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enní počet nových případů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270C58A-BB49-4257-8406-1CEB47E406EE}"/>
              </a:ext>
            </a:extLst>
          </p:cNvPr>
          <p:cNvGraphicFramePr>
            <a:graphicFrameLocks noGrp="1"/>
          </p:cNvGraphicFramePr>
          <p:nvPr/>
        </p:nvGraphicFramePr>
        <p:xfrm>
          <a:off x="9060412" y="1207371"/>
          <a:ext cx="2763052" cy="5050096"/>
        </p:xfrm>
        <a:graphic>
          <a:graphicData uri="http://schemas.openxmlformats.org/drawingml/2006/table">
            <a:tbl>
              <a:tblPr/>
              <a:tblGrid>
                <a:gridCol w="1675629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08742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5203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 posledních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ní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  <a:tr h="281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 denní klouzavý průmě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11470"/>
                  </a:ext>
                </a:extLst>
              </a:tr>
            </a:tbl>
          </a:graphicData>
        </a:graphic>
      </p:graphicFrame>
      <p:sp>
        <p:nvSpPr>
          <p:cNvPr id="9" name="Obdélník 4">
            <a:extLst>
              <a:ext uri="{FF2B5EF4-FFF2-40B4-BE49-F238E27FC236}">
                <a16:creationId xmlns:a16="http://schemas.microsoft.com/office/drawing/2014/main" id="{81867BFA-1453-40BE-A29B-836824A9B5EE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ých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18. 2. 2022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1" name="Straight Connector 4">
            <a:extLst>
              <a:ext uri="{FF2B5EF4-FFF2-40B4-BE49-F238E27FC236}">
                <a16:creationId xmlns:a16="http://schemas.microsoft.com/office/drawing/2014/main" id="{FC15B3FD-8931-45F3-B9FA-489831BF4CD0}"/>
              </a:ext>
            </a:extLst>
          </p:cNvPr>
          <p:cNvCxnSpPr/>
          <p:nvPr/>
        </p:nvCxnSpPr>
        <p:spPr>
          <a:xfrm>
            <a:off x="1075769" y="1393737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98F82CC0-F179-44D1-AED9-4C8CAA8FCD8F}"/>
              </a:ext>
            </a:extLst>
          </p:cNvPr>
          <p:cNvSpPr txBox="1"/>
          <p:nvPr/>
        </p:nvSpPr>
        <p:spPr>
          <a:xfrm>
            <a:off x="1438027" y="1224463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1888767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827676BE-FED5-4891-A49E-5B33074F0EA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0685399"/>
              </p:ext>
            </p:extLst>
          </p:nvPr>
        </p:nvGraphicFramePr>
        <p:xfrm>
          <a:off x="1407510" y="1169485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802892" cy="576000"/>
          </a:xfrm>
        </p:spPr>
        <p:txBody>
          <a:bodyPr/>
          <a:lstStyle/>
          <a:p>
            <a:r>
              <a:rPr lang="cs-CZ" dirty="0"/>
              <a:t>Počty COVID-19 pozitivních na 100 000 osob v populaci pracovníků v sociálních službách</a:t>
            </a:r>
            <a:r>
              <a:rPr lang="en-US" dirty="0"/>
              <a:t>*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58189" y="1856023"/>
            <a:ext cx="143810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 v populaci pracovníků v sociálních službách (suma za hodnocený časový úsek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8FA2216-F217-4BAB-A9D1-49D7EE7FFB73}"/>
              </a:ext>
            </a:extLst>
          </p:cNvPr>
          <p:cNvSpPr txBox="1"/>
          <p:nvPr/>
        </p:nvSpPr>
        <p:spPr>
          <a:xfrm>
            <a:off x="245294" y="6380943"/>
            <a:ext cx="11946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ci v zařízeních, které zadávají informace do sociálního modulu ISIN, což odpovídá asi 8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n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01836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9. 2. 2022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3172594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2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0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2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4477668"/>
              </p:ext>
            </p:extLst>
          </p:nvPr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5335"/>
              </p:ext>
            </p:extLst>
          </p:nvPr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 6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3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0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2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18155425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19. 2. 2022</a:t>
            </a:r>
            <a:endParaRPr lang="cs-CZ" b="1" dirty="0">
              <a:solidFill>
                <a:schemeClr val="bg1"/>
              </a:solidFill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lang="pl-PL" sz="1100" dirty="0"/>
              <a:t>v období od 1.9.2021 do současnosti </a:t>
            </a:r>
            <a:r>
              <a:rPr lang="cs-CZ" sz="1100" dirty="0"/>
              <a:t>(v ambulantním sektoru mohou být tyto počty mírně nedohlášené). 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* Přeočkování posilující dávkou je možné pro osoby, které mají nejméně 6 měsíců (v této analýze 182 dnů) po aplikaci ukončovací (druhé) dávky.</a:t>
            </a:r>
          </a:p>
          <a:p>
            <a:r>
              <a:rPr lang="cs-CZ" sz="1100" dirty="0"/>
              <a:t>** Jeden zdravotnický pracovník může působit ve více krajích, do celkového počtu je zahrnut pouze jednou. </a:t>
            </a:r>
          </a:p>
        </p:txBody>
      </p:sp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300A08B3-B18A-4DE9-97BC-1912730507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0369400"/>
              </p:ext>
            </p:extLst>
          </p:nvPr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1001822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82608376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241392143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  <a:gridCol w="613564">
                  <a:extLst>
                    <a:ext uri="{9D8B030D-6E8A-4147-A177-3AD203B41FA5}">
                      <a16:colId xmlns:a16="http://schemas.microsoft.com/office/drawing/2014/main" val="3067111112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oby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8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3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7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5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4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2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2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7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6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0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9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1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3 7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 0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5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0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8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3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0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 8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7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3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8 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14521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9. 2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6579048-BB0C-4A41-91BF-EE6AEF0D2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976803"/>
              </p:ext>
            </p:extLst>
          </p:nvPr>
        </p:nvGraphicFramePr>
        <p:xfrm>
          <a:off x="337535" y="1200434"/>
          <a:ext cx="11516932" cy="4496159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104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104900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250257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50319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dirty="0"/>
                        <a:t>Zdravotničtí pracovníci evidovaní v NZIS podle pracovních pozic*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effectLst/>
                        </a:rPr>
                        <a:t>Počet zdravotnických pracovníků**</a:t>
                      </a:r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 ukončovací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ouze s 1. dávkou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Prodělali onemocně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včetně zubních lékařů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03 (88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852 (74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54 (13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 (0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2 (3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08 (8,8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5101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231 (83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 840 (6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735 (22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6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90 (9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75 (6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542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05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015 (81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370 (55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079 (25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6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01 (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71 (8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31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94 (79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84 (55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7 (23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 (0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8 (9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1 (10,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7 (8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6 (53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4 (26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(1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4 (11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2 (8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62 (82,2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85 (56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17 (25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49 (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5 (7,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4 (86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4 (66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5 (20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3 (7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5 (6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00 (76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78 (50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5 (25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6 (12,0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1 (11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4623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24 (82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44 (56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95 (25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8 (9,9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0 (7,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70 (81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32 (55,8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24 (25,1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 (0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7 (9,4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0 (9,2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114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CELKEM*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 249 (83,7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4 062 (61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3 768 (21,5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 419 (0,6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 673 (8,3 %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 154 (8,1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781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11971" y="5699414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 Jedna osoba může být evidována na více typech pracovních pozic uvedených ve výstupu, v celkovém součtu je zahrnuta pouze jednou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37535" y="592671"/>
            <a:ext cx="11454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9. 2. 2022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94621"/>
            <a:ext cx="82803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7D8B5EC-D4C4-4142-B9B3-D668437D75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2474671"/>
              </p:ext>
            </p:extLst>
          </p:nvPr>
        </p:nvGraphicFramePr>
        <p:xfrm>
          <a:off x="847725" y="981075"/>
          <a:ext cx="10696575" cy="492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5E273B3-595D-4506-8111-3C0DC2F8EF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6281957"/>
              </p:ext>
            </p:extLst>
          </p:nvPr>
        </p:nvGraphicFramePr>
        <p:xfrm>
          <a:off x="11229975" y="1724026"/>
          <a:ext cx="824515" cy="3975389"/>
        </p:xfrm>
        <a:graphic>
          <a:graphicData uri="http://schemas.openxmlformats.org/drawingml/2006/table">
            <a:tbl>
              <a:tblPr firstRow="1" lastRow="1" bandRow="1"/>
              <a:tblGrid>
                <a:gridCol w="824515">
                  <a:extLst>
                    <a:ext uri="{9D8B030D-6E8A-4147-A177-3AD203B41FA5}">
                      <a16:colId xmlns:a16="http://schemas.microsoft.com/office/drawing/2014/main" val="2631467471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623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5 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389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2 4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2854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2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8676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5713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 8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6593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8268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2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28598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6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1299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670276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0 0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01955"/>
                  </a:ext>
                </a:extLst>
              </a:tr>
            </a:tbl>
          </a:graphicData>
        </a:graphic>
      </p:graphicFrame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4AA833D1-7B4A-4D1C-A2B1-06653D5E7670}"/>
              </a:ext>
            </a:extLst>
          </p:cNvPr>
          <p:cNvGraphicFramePr>
            <a:graphicFrameLocks noGrp="1"/>
          </p:cNvGraphicFramePr>
          <p:nvPr/>
        </p:nvGraphicFramePr>
        <p:xfrm>
          <a:off x="257786" y="1724025"/>
          <a:ext cx="2342539" cy="397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2539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</a:tblGrid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včetně zubních lékařů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§ 5 Všeobecná sestra, § 5a Dětská sestra, § 6 Porodní asistentka, § 21b Praktická sestra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89762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87167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172008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653829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4958823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180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713135"/>
                  </a:ext>
                </a:extLst>
              </a:tr>
              <a:tr h="361399">
                <a:tc>
                  <a:txBody>
                    <a:bodyPr/>
                    <a:lstStyle/>
                    <a:p>
                      <a:pPr algn="l" fontAlgn="ctr">
                        <a:lnSpc>
                          <a:spcPts val="900"/>
                        </a:lnSpc>
                      </a:pPr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5517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81</TotalTime>
  <Words>10597</Words>
  <Application>Microsoft Office PowerPoint</Application>
  <PresentationFormat>Širokoúhlá obrazovka</PresentationFormat>
  <Paragraphs>2349</Paragraphs>
  <Slides>44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44</vt:i4>
      </vt:variant>
    </vt:vector>
  </HeadingPairs>
  <TitlesOfParts>
    <vt:vector size="50" baseType="lpstr">
      <vt:lpstr>Calibri Light</vt:lpstr>
      <vt:lpstr>Arial</vt:lpstr>
      <vt:lpstr>Calibri</vt:lpstr>
      <vt:lpstr>Motiv Office</vt:lpstr>
      <vt:lpstr>3_Motiv Office</vt:lpstr>
      <vt:lpstr>1_Motiv Office</vt:lpstr>
      <vt:lpstr>Prezentace aplikace PowerPoint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Očkování zdravotnických pracovníků – počty očkovaných v čase</vt:lpstr>
      <vt:lpstr>Vakcinace posilující dávkou</vt:lpstr>
      <vt:lpstr>Očkovaní aktivní zdravotničtí pracovníci</vt:lpstr>
      <vt:lpstr>Očkovaní aktivní zdravotničtí pracovníci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/2021 – 01/2022</vt:lpstr>
      <vt:lpstr>Přehled povolání u COVID-19 pozitivních ostatních zdravotnických pracovníků za období 10/2021 – 01/2022</vt:lpstr>
      <vt:lpstr>Přehled povolání u COVID-19 pozitivních ostatních zdravotnických pracovníků za období 01-02/2022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  <vt:lpstr>Prezentace aplikace PowerPoint</vt:lpstr>
      <vt:lpstr>Počty pracovníků ve zdravotnictví s nákazou COVID-19</vt:lpstr>
      <vt:lpstr>Počty pracovníků ve zdravotnictví s nákazou COVID-19</vt:lpstr>
      <vt:lpstr>Prezentace aplikace PowerPoint</vt:lpstr>
      <vt:lpstr>Počty COVID-19 pozitivních na 100 000 osob v populaci lékařů</vt:lpstr>
      <vt:lpstr>Prezentace aplikace PowerPoint</vt:lpstr>
      <vt:lpstr>Počty COVID-19 pozitivních na 100 000 osob v populaci sester</vt:lpstr>
      <vt:lpstr>Prezentace aplikace PowerPoint</vt:lpstr>
      <vt:lpstr>Počty COVID-19 pozitivních na 100 000 osob v populaci ostatních ZP</vt:lpstr>
      <vt:lpstr>Prezentace aplikace PowerPoint</vt:lpstr>
      <vt:lpstr>Počty pracovníků ve zdravotnictví s nákazou COVID-19</vt:lpstr>
      <vt:lpstr>Počty pracovníků ve zdravotnictví (ZP) s nákazou COVID-19</vt:lpstr>
      <vt:lpstr>Prezentace aplikace PowerPoint</vt:lpstr>
      <vt:lpstr>Počet nových případů COVID-19 na 100 tis. dané kategorie v populaci lékařů</vt:lpstr>
      <vt:lpstr>Prezentace aplikace PowerPoint</vt:lpstr>
      <vt:lpstr>Počet nových případů COVID-19 na 100 tis. dané kategorie v populaci sester</vt:lpstr>
      <vt:lpstr>Prezentace aplikace PowerPoint</vt:lpstr>
      <vt:lpstr>Počet nových případů COVID-19 na 100 tis. dané kategorie: populace ostatních ZP</vt:lpstr>
      <vt:lpstr>Prezentace aplikace PowerPoint</vt:lpstr>
      <vt:lpstr>Počet nových případů COVID-19 na 100 tis. dané kategorie v populaci ZP celkem </vt:lpstr>
      <vt:lpstr>Prezentace aplikace PowerPoint</vt:lpstr>
      <vt:lpstr>Prezentace aplikace PowerPoint</vt:lpstr>
      <vt:lpstr>Počty nově COVID-19 pozitivních pracovníků  v zařízeních sociálních služeb</vt:lpstr>
      <vt:lpstr>Počty COVID-19 pozitivních na 100 000 osob v populaci pracovníků v sociálních službách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Mužík Jan RNDr. Ph.D.</cp:lastModifiedBy>
  <cp:revision>861</cp:revision>
  <dcterms:created xsi:type="dcterms:W3CDTF">2020-11-11T17:36:28Z</dcterms:created>
  <dcterms:modified xsi:type="dcterms:W3CDTF">2022-02-20T17:00:46Z</dcterms:modified>
</cp:coreProperties>
</file>